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971" r:id="rId9"/>
    <p:sldMasterId id="2147487188" r:id="rId10"/>
    <p:sldMasterId id="2147487382" r:id="rId11"/>
  </p:sldMasterIdLst>
  <p:notesMasterIdLst>
    <p:notesMasterId r:id="rId18"/>
  </p:notesMasterIdLst>
  <p:sldIdLst>
    <p:sldId id="309" r:id="rId12"/>
    <p:sldId id="5076" r:id="rId13"/>
    <p:sldId id="5084" r:id="rId14"/>
    <p:sldId id="5085" r:id="rId15"/>
    <p:sldId id="5086" r:id="rId16"/>
    <p:sldId id="5087" r:id="rId17"/>
  </p:sldIdLst>
  <p:sldSz cx="12169775" cy="6858000"/>
  <p:notesSz cx="6797675" cy="9928225"/>
  <p:custDataLst>
    <p:tags r:id="rId19"/>
  </p:custDataLst>
  <p:defaultTextStyle>
    <a:defPPr>
      <a:defRPr lang="de-DE"/>
    </a:defPPr>
    <a:lvl1pPr marL="0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592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183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775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368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959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9551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6143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2733" algn="l" defTabSz="913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01">
          <p15:clr>
            <a:srgbClr val="A4A3A4"/>
          </p15:clr>
        </p15:guide>
        <p15:guide id="2" orient="horz" pos="1022">
          <p15:clr>
            <a:srgbClr val="A4A3A4"/>
          </p15:clr>
        </p15:guide>
        <p15:guide id="3" orient="horz" pos="664">
          <p15:clr>
            <a:srgbClr val="A4A3A4"/>
          </p15:clr>
        </p15:guide>
        <p15:guide id="4" pos="340">
          <p15:clr>
            <a:srgbClr val="A4A3A4"/>
          </p15:clr>
        </p15:guide>
        <p15:guide id="5" pos="7325">
          <p15:clr>
            <a:srgbClr val="A4A3A4"/>
          </p15:clr>
        </p15:guide>
        <p15:guide id="6" pos="820">
          <p15:clr>
            <a:srgbClr val="A4A3A4"/>
          </p15:clr>
        </p15:guide>
        <p15:guide id="7" pos="932">
          <p15:clr>
            <a:srgbClr val="A4A3A4"/>
          </p15:clr>
        </p15:guide>
        <p15:guide id="8" pos="1412">
          <p15:clr>
            <a:srgbClr val="A4A3A4"/>
          </p15:clr>
        </p15:guide>
        <p15:guide id="9" pos="1524">
          <p15:clr>
            <a:srgbClr val="A4A3A4"/>
          </p15:clr>
        </p15:guide>
        <p15:guide id="10" pos="2002">
          <p15:clr>
            <a:srgbClr val="A4A3A4"/>
          </p15:clr>
        </p15:guide>
        <p15:guide id="11" pos="2116">
          <p15:clr>
            <a:srgbClr val="A4A3A4"/>
          </p15:clr>
        </p15:guide>
        <p15:guide id="12" pos="2592">
          <p15:clr>
            <a:srgbClr val="A4A3A4"/>
          </p15:clr>
        </p15:guide>
        <p15:guide id="13" pos="2706">
          <p15:clr>
            <a:srgbClr val="A4A3A4"/>
          </p15:clr>
        </p15:guide>
        <p15:guide id="14" pos="3184">
          <p15:clr>
            <a:srgbClr val="A4A3A4"/>
          </p15:clr>
        </p15:guide>
        <p15:guide id="15" pos="3298">
          <p15:clr>
            <a:srgbClr val="A4A3A4"/>
          </p15:clr>
        </p15:guide>
        <p15:guide id="16" pos="3776">
          <p15:clr>
            <a:srgbClr val="A4A3A4"/>
          </p15:clr>
        </p15:guide>
        <p15:guide id="17" pos="3890">
          <p15:clr>
            <a:srgbClr val="A4A3A4"/>
          </p15:clr>
        </p15:guide>
        <p15:guide id="18" pos="4368">
          <p15:clr>
            <a:srgbClr val="A4A3A4"/>
          </p15:clr>
        </p15:guide>
        <p15:guide id="19" pos="4482">
          <p15:clr>
            <a:srgbClr val="A4A3A4"/>
          </p15:clr>
        </p15:guide>
        <p15:guide id="20" pos="4960">
          <p15:clr>
            <a:srgbClr val="A4A3A4"/>
          </p15:clr>
        </p15:guide>
        <p15:guide id="21" pos="5074">
          <p15:clr>
            <a:srgbClr val="A4A3A4"/>
          </p15:clr>
        </p15:guide>
        <p15:guide id="22" pos="5552">
          <p15:clr>
            <a:srgbClr val="A4A3A4"/>
          </p15:clr>
        </p15:guide>
        <p15:guide id="23" pos="5666">
          <p15:clr>
            <a:srgbClr val="A4A3A4"/>
          </p15:clr>
        </p15:guide>
        <p15:guide id="24" pos="6142">
          <p15:clr>
            <a:srgbClr val="A4A3A4"/>
          </p15:clr>
        </p15:guide>
        <p15:guide id="25" pos="6254">
          <p15:clr>
            <a:srgbClr val="A4A3A4"/>
          </p15:clr>
        </p15:guide>
        <p15:guide id="26" pos="6734">
          <p15:clr>
            <a:srgbClr val="A4A3A4"/>
          </p15:clr>
        </p15:guide>
        <p15:guide id="27" pos="684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ass, Moritz" initials="M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66"/>
    <a:srgbClr val="FFFF99"/>
    <a:srgbClr val="FF7C80"/>
    <a:srgbClr val="FFFFCC"/>
    <a:srgbClr val="FFFFFF"/>
    <a:srgbClr val="C2E49C"/>
    <a:srgbClr val="DCE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93" autoAdjust="0"/>
    <p:restoredTop sz="94660"/>
  </p:normalViewPr>
  <p:slideViewPr>
    <p:cSldViewPr snapToGrid="0" snapToObjects="1" showGuides="1">
      <p:cViewPr varScale="1">
        <p:scale>
          <a:sx n="100" d="100"/>
          <a:sy n="100" d="100"/>
        </p:scale>
        <p:origin x="-150" y="300"/>
      </p:cViewPr>
      <p:guideLst>
        <p:guide orient="horz" pos="3901"/>
        <p:guide orient="horz" pos="1022"/>
        <p:guide orient="horz" pos="664"/>
        <p:guide pos="340"/>
        <p:guide pos="7325"/>
        <p:guide pos="820"/>
        <p:guide pos="932"/>
        <p:guide pos="1412"/>
        <p:guide pos="1524"/>
        <p:guide pos="2002"/>
        <p:guide pos="2116"/>
        <p:guide pos="2592"/>
        <p:guide pos="2706"/>
        <p:guide pos="3184"/>
        <p:guide pos="3298"/>
        <p:guide pos="3776"/>
        <p:guide pos="3890"/>
        <p:guide pos="4368"/>
        <p:guide pos="4482"/>
        <p:guide pos="4960"/>
        <p:guide pos="5074"/>
        <p:guide pos="5552"/>
        <p:guide pos="5666"/>
        <p:guide pos="6142"/>
        <p:guide pos="6254"/>
        <p:guide pos="6734"/>
        <p:guide pos="684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3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2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en-US" smtClean="0"/>
              <a:t>10/6/2021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4538"/>
            <a:ext cx="66071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C7309E-6B14-43E2-9D02-8D68126D84D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592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183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775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368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959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551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143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733" algn="l" defTabSz="913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C7309E-6B14-43E2-9D02-8D68126D84D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572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C7309E-6B14-43E2-9D02-8D68126D84D9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9184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6.wmf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customXml" Target="../../customXml/item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16" y="1619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16" y="1619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9998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36832" y="2422800"/>
            <a:ext cx="8273800" cy="540000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391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        Intro title Calibri Bold 44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036832" y="3070832"/>
            <a:ext cx="8273800" cy="180000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7784"/>
              </a:lnSpc>
              <a:spcBef>
                <a:spcPts val="0"/>
              </a:spcBef>
              <a:buNone/>
              <a:defRPr sz="8782" b="1">
                <a:solidFill>
                  <a:schemeClr val="bg2"/>
                </a:solidFill>
              </a:defRPr>
            </a:lvl1pPr>
            <a:lvl2pPr marL="454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9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4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19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73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28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83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3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Calibri</a:t>
            </a:r>
            <a:br>
              <a:rPr lang="en-US" dirty="0"/>
            </a:br>
            <a:r>
              <a:rPr lang="en-US" dirty="0"/>
              <a:t>      Bold 8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30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74" y="554038"/>
            <a:ext cx="2944080" cy="701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platzhalt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05701"/>
            <a:ext cx="3574800" cy="541015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1916"/>
              </a:lnSpc>
              <a:spcBef>
                <a:spcPts val="0"/>
              </a:spcBef>
              <a:buNone/>
              <a:defRPr sz="1596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</p:spTree>
    <p:extLst>
      <p:ext uri="{BB962C8B-B14F-4D97-AF65-F5344CB8AC3E}">
        <p14:creationId xmlns:p14="http://schemas.microsoft.com/office/powerpoint/2010/main" val="3946065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16" y="1620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620"/>
                        <a:ext cx="158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836671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1620000"/>
            <a:ext cx="4514600" cy="4572838"/>
          </a:xfrm>
        </p:spPr>
        <p:txBody>
          <a:bodyPr/>
          <a:lstStyle>
            <a:lvl1pPr marL="286430" indent="-286430">
              <a:lnSpc>
                <a:spcPts val="2841"/>
              </a:lnSpc>
              <a:spcBef>
                <a:spcPts val="1131"/>
              </a:spcBef>
              <a:buClr>
                <a:schemeClr val="bg2"/>
              </a:buClr>
              <a:buFont typeface="Arial" panose="020B0604020202020204" pitchFamily="34" charset="0"/>
              <a:buChar char="•"/>
              <a:tabLst>
                <a:tab pos="4489721" algn="r"/>
              </a:tabLst>
              <a:defRPr sz="2394" baseline="0">
                <a:solidFill>
                  <a:schemeClr val="bg2"/>
                </a:solidFill>
              </a:defRPr>
            </a:lvl1pPr>
            <a:lvl2pPr marL="286430">
              <a:lnSpc>
                <a:spcPts val="2841"/>
              </a:lnSpc>
              <a:tabLst>
                <a:tab pos="4489721" algn="r"/>
              </a:tabLst>
              <a:defRPr sz="2394"/>
            </a:lvl2pPr>
          </a:lstStyle>
          <a:p>
            <a:pPr lvl="0"/>
            <a:r>
              <a:rPr lang="en-US" noProof="0" dirty="0"/>
              <a:t>Headline Calibri Bold 2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2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75388" y="1620000"/>
            <a:ext cx="4514850" cy="28548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</p:spTree>
    <p:extLst>
      <p:ext uri="{BB962C8B-B14F-4D97-AF65-F5344CB8AC3E}">
        <p14:creationId xmlns:p14="http://schemas.microsoft.com/office/powerpoint/2010/main" val="3587591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79147B7-F890-402E-8799-46AC0896C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79147B7-F890-402E-8799-46AC0896C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3358A87-308C-4C24-8336-23949FF4B4E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2" y="32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09587">
              <a:spcBef>
                <a:spcPct val="0"/>
              </a:spcBef>
              <a:spcAft>
                <a:spcPct val="0"/>
              </a:spcAft>
            </a:pPr>
            <a:endParaRPr lang="en-US" sz="2795" b="1" dirty="0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98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lIns="91159" tIns="45579" rIns="91159" bIns="45579"/>
          <a:lstStyle>
            <a:lvl1pPr>
              <a:lnSpc>
                <a:spcPct val="100000"/>
              </a:lnSpc>
              <a:defRPr/>
            </a:lvl1pPr>
          </a:lstStyle>
          <a:p>
            <a:pPr defTabSz="1081161"/>
            <a:r>
              <a:rPr lang="en-US">
                <a:solidFill>
                  <a:srgbClr val="000000"/>
                </a:solidFill>
              </a:rPr>
              <a:t>Author | Department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4650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4" y="1627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4" y="1627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4"/>
          </p:nvPr>
        </p:nvSpPr>
        <p:spPr>
          <a:xfrm>
            <a:off x="11347552" y="6340471"/>
            <a:ext cx="280886" cy="144000"/>
          </a:xfrm>
          <a:prstGeom prst="rect">
            <a:avLst/>
          </a:prstGeom>
        </p:spPr>
        <p:txBody>
          <a:bodyPr lIns="91159" tIns="45579" rIns="91159" bIns="45579"/>
          <a:lstStyle/>
          <a:p>
            <a:pPr defTabSz="1081161"/>
            <a:fld id="{5FA2C36E-DC06-4909-89EC-32EA0059C5E3}" type="slidenum">
              <a:rPr lang="en-US" smtClean="0">
                <a:solidFill>
                  <a:srgbClr val="000000"/>
                </a:solidFill>
              </a:rPr>
              <a:pPr defTabSz="108116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3574800" cy="360000"/>
          </a:xfrm>
        </p:spPr>
        <p:txBody>
          <a:bodyPr anchor="b" anchorCtr="0">
            <a:noAutofit/>
          </a:bodyPr>
          <a:lstStyle>
            <a:lvl1pPr>
              <a:lnSpc>
                <a:spcPts val="1195"/>
              </a:lnSpc>
              <a:defRPr sz="998" b="0"/>
            </a:lvl1pPr>
          </a:lstStyle>
          <a:p>
            <a:r>
              <a:rPr lang="en-US" dirty="0"/>
              <a:t>Footnote/Source/Disclaimer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28" y="1622470"/>
            <a:ext cx="9212400" cy="45704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Abgerundetes Rechteck 42"/>
          <p:cNvSpPr/>
          <p:nvPr userDrawn="1"/>
        </p:nvSpPr>
        <p:spPr>
          <a:xfrm>
            <a:off x="12528050" y="1"/>
            <a:ext cx="1865457" cy="598170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30" tIns="35725" rIns="71430" bIns="35725" rtlCol="0" anchor="t"/>
          <a:lstStyle/>
          <a:p>
            <a:pPr marL="176384" lvl="1" indent="-176384" defTabSz="907109">
              <a:spcBef>
                <a:spcPts val="598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dirty="0">
                <a:solidFill>
                  <a:srgbClr val="FFFFFF"/>
                </a:solidFill>
              </a:rPr>
              <a:t>To ensure a clean and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</a:rPr>
              <a:t>swift workflow with </a:t>
            </a:r>
            <a:r>
              <a:rPr lang="en-US" sz="1097" b="1" dirty="0">
                <a:solidFill>
                  <a:srgbClr val="000000"/>
                </a:solidFill>
              </a:rPr>
              <a:t>bullet points</a:t>
            </a:r>
            <a:r>
              <a:rPr lang="en-US" sz="1097" dirty="0">
                <a:solidFill>
                  <a:srgbClr val="000000"/>
                </a:solidFill>
              </a:rPr>
              <a:t>,</a:t>
            </a:r>
            <a:r>
              <a:rPr lang="en-US" sz="1097" dirty="0">
                <a:solidFill>
                  <a:srgbClr val="FFFFFF"/>
                </a:solidFill>
              </a:rPr>
              <a:t> please use the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</a:rPr>
              <a:t>PRE-SET PLACEHOLDERS or FORMATTED TEXTBOXES</a:t>
            </a:r>
            <a:r>
              <a:rPr lang="en-US" sz="1097" b="1" dirty="0">
                <a:solidFill>
                  <a:srgbClr val="FFFFFF"/>
                </a:solidFill>
              </a:rPr>
              <a:t>  </a:t>
            </a:r>
            <a:r>
              <a:rPr lang="en-US" sz="1097" dirty="0">
                <a:solidFill>
                  <a:srgbClr val="FFFFFF"/>
                </a:solidFill>
              </a:rPr>
              <a:t>– do not use “normal” textboxes that have been added via the steps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 add  textbox.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These textboxes cannot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be formatted with the automatic formatting step </a:t>
            </a:r>
          </a:p>
          <a:p>
            <a:pPr marL="176384" lvl="1" indent="-176384" defTabSz="907109">
              <a:spcBef>
                <a:spcPts val="598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b="1" dirty="0">
                <a:solidFill>
                  <a:srgbClr val="000000"/>
                </a:solidFill>
                <a:sym typeface="Wingdings" panose="05000000000000000000" pitchFamily="2" charset="2"/>
              </a:rPr>
              <a:t>AUTOMATIC INDENTATIONS </a:t>
            </a: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IN PLACEHOLDERS are only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to be done using the tool decrease or increase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the list level               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</a:rPr>
              <a:t>(or Shift + Alt + </a:t>
            </a: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</a:t>
            </a:r>
            <a:r>
              <a:rPr lang="en-US" sz="1097" dirty="0">
                <a:solidFill>
                  <a:srgbClr val="FFFFFF"/>
                </a:solidFill>
              </a:rPr>
              <a:t> / </a:t>
            </a: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</a:t>
            </a:r>
            <a:r>
              <a:rPr lang="en-US" sz="1097" dirty="0">
                <a:solidFill>
                  <a:srgbClr val="FFFFFF"/>
                </a:solidFill>
              </a:rPr>
              <a:t>)</a:t>
            </a:r>
          </a:p>
          <a:p>
            <a:pPr marL="176384" lvl="1" indent="-176384" defTabSz="907109">
              <a:spcBef>
                <a:spcPts val="598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b="1" dirty="0">
                <a:solidFill>
                  <a:srgbClr val="000000"/>
                </a:solidFill>
              </a:rPr>
              <a:t>Formatted textboxes/ placeholders </a:t>
            </a:r>
            <a:r>
              <a:rPr lang="en-US" sz="1097" dirty="0">
                <a:solidFill>
                  <a:srgbClr val="FFFFFF"/>
                </a:solidFill>
              </a:rPr>
              <a:t>are available in the template – just make a copy OR: generate a new placeholder by following these steps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 Start  new slide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 choose layout 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"Content Slide"</a:t>
            </a:r>
          </a:p>
          <a:p>
            <a:pPr marL="176384" lvl="1" indent="-176384" defTabSz="907109">
              <a:spcBef>
                <a:spcPts val="598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Placeholders can be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filled and then copied. 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The copied placeholder will keep its formatting </a:t>
            </a:r>
            <a:endParaRPr lang="en-US" sz="1097" dirty="0">
              <a:solidFill>
                <a:srgbClr val="FFFFFF"/>
              </a:solidFill>
            </a:endParaRPr>
          </a:p>
        </p:txBody>
      </p:sp>
      <p:pic>
        <p:nvPicPr>
          <p:cNvPr id="15" name="Picture 20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3558240" y="2986257"/>
            <a:ext cx="369481" cy="210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lIns="91159" tIns="45579" rIns="91159" bIns="45579"/>
          <a:lstStyle/>
          <a:p>
            <a:pPr defTabSz="1081161"/>
            <a:r>
              <a:rPr lang="en-US">
                <a:solidFill>
                  <a:srgbClr val="000000"/>
                </a:solidFill>
              </a:rPr>
              <a:t>Sonja Wehsely | SHS EMEA ST&amp;BD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Abgerundetes Rechteck 11"/>
          <p:cNvSpPr/>
          <p:nvPr userDrawn="1"/>
        </p:nvSpPr>
        <p:spPr>
          <a:xfrm>
            <a:off x="-2160000" y="7603245"/>
            <a:ext cx="1800000" cy="63500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430" tIns="35725" rIns="71430" bIns="35725" rtlCol="0" anchor="ctr"/>
          <a:lstStyle/>
          <a:p>
            <a:pPr defTabSz="907109">
              <a:defRPr/>
            </a:pPr>
            <a:r>
              <a:rPr lang="en-US" sz="1097" dirty="0">
                <a:solidFill>
                  <a:srgbClr val="FFFFFF"/>
                </a:solidFill>
              </a:rPr>
              <a:t>Add a Footnote/Source/ Disclaimer directly into the footer. </a:t>
            </a:r>
          </a:p>
        </p:txBody>
      </p:sp>
    </p:spTree>
    <p:extLst>
      <p:ext uri="{BB962C8B-B14F-4D97-AF65-F5344CB8AC3E}">
        <p14:creationId xmlns:p14="http://schemas.microsoft.com/office/powerpoint/2010/main" val="25692804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16" y="1619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16" y="1619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98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lIns="91159" tIns="45579" rIns="91159" bIns="45579"/>
          <a:lstStyle>
            <a:lvl1pPr>
              <a:lnSpc>
                <a:spcPct val="100000"/>
              </a:lnSpc>
              <a:defRPr/>
            </a:lvl1pPr>
          </a:lstStyle>
          <a:p>
            <a:pPr defTabSz="1081161"/>
            <a:r>
              <a:rPr lang="en-US">
                <a:solidFill>
                  <a:srgbClr val="000000"/>
                </a:solidFill>
              </a:rPr>
              <a:t>Dr. Bernd Ohnesorge | SHS EMEA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6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4"/>
          </p:nvPr>
        </p:nvSpPr>
        <p:spPr>
          <a:xfrm>
            <a:off x="11347552" y="6340471"/>
            <a:ext cx="280886" cy="144000"/>
          </a:xfrm>
          <a:prstGeom prst="rect">
            <a:avLst/>
          </a:prstGeom>
        </p:spPr>
        <p:txBody>
          <a:bodyPr lIns="91159" tIns="45579" rIns="91159" bIns="45579"/>
          <a:lstStyle/>
          <a:p>
            <a:pPr defTabSz="1081161"/>
            <a:fld id="{5FA2C36E-DC06-4909-89EC-32EA0059C5E3}" type="slidenum">
              <a:rPr lang="en-US" smtClean="0">
                <a:solidFill>
                  <a:srgbClr val="000000"/>
                </a:solidFill>
              </a:rPr>
              <a:pPr defTabSz="108116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28" y="1622456"/>
            <a:ext cx="9212400" cy="45704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Abgerundetes Rechteck 42"/>
          <p:cNvSpPr/>
          <p:nvPr userDrawn="1"/>
        </p:nvSpPr>
        <p:spPr>
          <a:xfrm>
            <a:off x="12528032" y="1"/>
            <a:ext cx="1865457" cy="598170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32" tIns="35801" rIns="71632" bIns="35801" rtlCol="0" anchor="t"/>
          <a:lstStyle/>
          <a:p>
            <a:pPr marL="176863" lvl="1" indent="-176863" defTabSz="909587">
              <a:spcBef>
                <a:spcPts val="599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dirty="0">
                <a:solidFill>
                  <a:srgbClr val="FFFFFF"/>
                </a:solidFill>
              </a:rPr>
              <a:t>To ensure a clean and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</a:rPr>
              <a:t>swift workflow with </a:t>
            </a:r>
            <a:r>
              <a:rPr lang="en-US" sz="1097" b="1" dirty="0">
                <a:solidFill>
                  <a:srgbClr val="000000"/>
                </a:solidFill>
              </a:rPr>
              <a:t>bullet points</a:t>
            </a:r>
            <a:r>
              <a:rPr lang="en-US" sz="1097" dirty="0">
                <a:solidFill>
                  <a:srgbClr val="000000"/>
                </a:solidFill>
              </a:rPr>
              <a:t>,</a:t>
            </a:r>
            <a:r>
              <a:rPr lang="en-US" sz="1097" dirty="0">
                <a:solidFill>
                  <a:srgbClr val="FFFFFF"/>
                </a:solidFill>
              </a:rPr>
              <a:t> please use the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</a:rPr>
              <a:t>PRE-SET PLACEHOLDERS or FORMATTED TEXTBOXES</a:t>
            </a:r>
            <a:r>
              <a:rPr lang="en-US" sz="1097" b="1" dirty="0">
                <a:solidFill>
                  <a:srgbClr val="FFFFFF"/>
                </a:solidFill>
              </a:rPr>
              <a:t>  </a:t>
            </a:r>
            <a:r>
              <a:rPr lang="en-US" sz="1097" dirty="0">
                <a:solidFill>
                  <a:srgbClr val="FFFFFF"/>
                </a:solidFill>
              </a:rPr>
              <a:t>– do not use “normal” textboxes that have been added via the steps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 add  textbox.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These textboxes cannot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be formatted with the automatic formatting step </a:t>
            </a:r>
          </a:p>
          <a:p>
            <a:pPr marL="176863" lvl="1" indent="-176863" defTabSz="909587">
              <a:spcBef>
                <a:spcPts val="599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b="1" dirty="0">
                <a:solidFill>
                  <a:srgbClr val="000000"/>
                </a:solidFill>
                <a:sym typeface="Wingdings" panose="05000000000000000000" pitchFamily="2" charset="2"/>
              </a:rPr>
              <a:t>AUTOMATIC INDENTATIONS </a:t>
            </a: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IN PLACEHOLDERS are only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to be done using the tool decrease or increase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  <a:t>the list level                </a:t>
            </a: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br>
              <a:rPr lang="en-US" sz="1097" dirty="0">
                <a:solidFill>
                  <a:srgbClr val="FFFFFF"/>
                </a:solidFill>
                <a:sym typeface="Wingdings" panose="05000000000000000000" pitchFamily="2" charset="2"/>
              </a:rPr>
            </a:br>
            <a:r>
              <a:rPr lang="en-US" sz="1097" dirty="0">
                <a:solidFill>
                  <a:srgbClr val="FFFFFF"/>
                </a:solidFill>
              </a:rPr>
              <a:t>(or Shift + Alt + </a:t>
            </a: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</a:t>
            </a:r>
            <a:r>
              <a:rPr lang="en-US" sz="1097" dirty="0">
                <a:solidFill>
                  <a:srgbClr val="FFFFFF"/>
                </a:solidFill>
              </a:rPr>
              <a:t> / </a:t>
            </a: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</a:t>
            </a:r>
            <a:r>
              <a:rPr lang="en-US" sz="1097" dirty="0">
                <a:solidFill>
                  <a:srgbClr val="FFFFFF"/>
                </a:solidFill>
              </a:rPr>
              <a:t>)</a:t>
            </a:r>
          </a:p>
          <a:p>
            <a:pPr marL="176863" lvl="1" indent="-176863" defTabSz="909587">
              <a:spcBef>
                <a:spcPts val="599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b="1" dirty="0">
                <a:solidFill>
                  <a:srgbClr val="000000"/>
                </a:solidFill>
              </a:rPr>
              <a:t>Formatted textboxes/ placeholders </a:t>
            </a:r>
            <a:r>
              <a:rPr lang="en-US" sz="1097" dirty="0">
                <a:solidFill>
                  <a:srgbClr val="FFFFFF"/>
                </a:solidFill>
              </a:rPr>
              <a:t>are available in the template – just make a copy OR: generate a new placeholder by following these steps </a:t>
            </a:r>
            <a:br>
              <a:rPr lang="en-US" sz="1097" dirty="0">
                <a:solidFill>
                  <a:srgbClr val="FFFFFF"/>
                </a:solidFill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 Start  new slide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 choose layout 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"Content Slide"</a:t>
            </a:r>
          </a:p>
          <a:p>
            <a:pPr marL="176863" lvl="1" indent="-176863" defTabSz="909587">
              <a:spcBef>
                <a:spcPts val="599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Placeholders can be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filled and then copied. </a:t>
            </a:r>
            <a:br>
              <a:rPr lang="en-US" sz="1097" dirty="0">
                <a:solidFill>
                  <a:srgbClr val="FFFFFF"/>
                </a:solidFill>
                <a:sym typeface="Wingdings" pitchFamily="2" charset="2"/>
              </a:rPr>
            </a:br>
            <a:r>
              <a:rPr lang="en-US" sz="1097" dirty="0">
                <a:solidFill>
                  <a:srgbClr val="FFFFFF"/>
                </a:solidFill>
                <a:sym typeface="Wingdings" pitchFamily="2" charset="2"/>
              </a:rPr>
              <a:t>The copied placeholder will keep its formatting </a:t>
            </a:r>
            <a:endParaRPr lang="en-US" sz="1097" dirty="0">
              <a:solidFill>
                <a:srgbClr val="FFFFFF"/>
              </a:solidFill>
            </a:endParaRPr>
          </a:p>
        </p:txBody>
      </p:sp>
      <p:pic>
        <p:nvPicPr>
          <p:cNvPr id="15" name="Picture 20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44" t="4977" r="38417" b="92430"/>
          <a:stretch/>
        </p:blipFill>
        <p:spPr bwMode="gray">
          <a:xfrm>
            <a:off x="13558225" y="2986237"/>
            <a:ext cx="369481" cy="210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Fußzeilenplatzhalter 1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lIns="91159" tIns="45579" rIns="91159" bIns="45579"/>
          <a:lstStyle/>
          <a:p>
            <a:pPr defTabSz="1081161"/>
            <a:r>
              <a:rPr lang="en-US">
                <a:solidFill>
                  <a:srgbClr val="000000"/>
                </a:solidFill>
              </a:rPr>
              <a:t>SHS EMEA KAM&amp;CC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Abgerundetes Rechteck 11"/>
          <p:cNvSpPr/>
          <p:nvPr userDrawn="1"/>
        </p:nvSpPr>
        <p:spPr>
          <a:xfrm>
            <a:off x="-2160000" y="7603232"/>
            <a:ext cx="1800000" cy="63500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632" tIns="35801" rIns="71632" bIns="35801" rtlCol="0" anchor="ctr"/>
          <a:lstStyle/>
          <a:p>
            <a:pPr defTabSz="909587">
              <a:defRPr/>
            </a:pPr>
            <a:r>
              <a:rPr lang="en-US" sz="1097" dirty="0">
                <a:solidFill>
                  <a:srgbClr val="FFFFFF"/>
                </a:solidFill>
              </a:rPr>
              <a:t>Add a </a:t>
            </a:r>
            <a:r>
              <a:rPr lang="de-DE" sz="1097" dirty="0" err="1">
                <a:solidFill>
                  <a:srgbClr val="FFFFFF"/>
                </a:solidFill>
              </a:rPr>
              <a:t>Footnote</a:t>
            </a:r>
            <a:r>
              <a:rPr lang="de-DE" sz="1097" dirty="0">
                <a:solidFill>
                  <a:srgbClr val="FFFFFF"/>
                </a:solidFill>
              </a:rPr>
              <a:t>/Source/ Disclaimer </a:t>
            </a:r>
            <a:r>
              <a:rPr lang="de-DE" sz="1097" dirty="0" err="1">
                <a:solidFill>
                  <a:srgbClr val="FFFFFF"/>
                </a:solidFill>
              </a:rPr>
              <a:t>directly</a:t>
            </a:r>
            <a:r>
              <a:rPr lang="de-DE" sz="1097" dirty="0">
                <a:solidFill>
                  <a:srgbClr val="FFFFFF"/>
                </a:solidFill>
              </a:rPr>
              <a:t> </a:t>
            </a:r>
            <a:r>
              <a:rPr lang="de-DE" sz="1097" dirty="0" err="1">
                <a:solidFill>
                  <a:srgbClr val="FFFFFF"/>
                </a:solidFill>
              </a:rPr>
              <a:t>into</a:t>
            </a:r>
            <a:r>
              <a:rPr lang="de-DE" sz="1097" dirty="0">
                <a:solidFill>
                  <a:srgbClr val="FFFFFF"/>
                </a:solidFill>
              </a:rPr>
              <a:t> </a:t>
            </a:r>
            <a:r>
              <a:rPr lang="de-DE" sz="1097" dirty="0" err="1">
                <a:solidFill>
                  <a:srgbClr val="FFFFFF"/>
                </a:solidFill>
              </a:rPr>
              <a:t>the</a:t>
            </a:r>
            <a:r>
              <a:rPr lang="de-DE" sz="1097" dirty="0">
                <a:solidFill>
                  <a:srgbClr val="FFFFFF"/>
                </a:solidFill>
              </a:rPr>
              <a:t> </a:t>
            </a:r>
            <a:r>
              <a:rPr lang="de-DE" sz="1097" dirty="0" err="1">
                <a:solidFill>
                  <a:srgbClr val="FFFFFF"/>
                </a:solidFill>
              </a:rPr>
              <a:t>footer</a:t>
            </a:r>
            <a:r>
              <a:rPr lang="de-DE" sz="1097" dirty="0">
                <a:solidFill>
                  <a:srgbClr val="FFFFFF"/>
                </a:solidFill>
              </a:rPr>
              <a:t>. </a:t>
            </a:r>
            <a:endParaRPr lang="en-US" sz="1097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6103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de-DE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4"/>
          </p:nvPr>
        </p:nvSpPr>
        <p:spPr>
          <a:xfrm>
            <a:off x="11347552" y="6340471"/>
            <a:ext cx="280886" cy="144000"/>
          </a:xfrm>
          <a:prstGeom prst="rect">
            <a:avLst/>
          </a:prstGeom>
        </p:spPr>
        <p:txBody>
          <a:bodyPr/>
          <a:lstStyle/>
          <a:p>
            <a:fld id="{5FA2C36E-DC06-4909-89EC-32EA0059C5E3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2424"/>
            <a:ext cx="9212400" cy="45704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noProof="0"/>
              <a:t>Headline Calibri Bold 18 </a:t>
            </a:r>
            <a:r>
              <a:rPr lang="en-US" noProof="0" err="1"/>
              <a:t>pt</a:t>
            </a:r>
            <a:endParaRPr lang="en-US" noProof="0"/>
          </a:p>
          <a:p>
            <a:pPr lvl="1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2"/>
            <a:r>
              <a:rPr lang="en-US" noProof="0"/>
              <a:t>Text Calibri 18 </a:t>
            </a:r>
            <a:r>
              <a:rPr lang="en-US" noProof="0" err="1"/>
              <a:t>pt</a:t>
            </a:r>
            <a:endParaRPr lang="en-US" noProof="0"/>
          </a:p>
          <a:p>
            <a:pPr lvl="3"/>
            <a:r>
              <a:rPr lang="en-US" noProof="0"/>
              <a:t>Text Calibri 14 </a:t>
            </a:r>
            <a:r>
              <a:rPr lang="en-US" noProof="0" err="1"/>
              <a:t>pt</a:t>
            </a:r>
            <a:endParaRPr lang="en-US" noProof="0"/>
          </a:p>
        </p:txBody>
      </p:sp>
      <p:sp>
        <p:nvSpPr>
          <p:cNvPr id="14" name="Abgerundetes Rechteck 42"/>
          <p:cNvSpPr/>
          <p:nvPr userDrawn="1"/>
        </p:nvSpPr>
        <p:spPr>
          <a:xfrm>
            <a:off x="12528000" y="1"/>
            <a:ext cx="1865457" cy="598170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marL="177800" lvl="1" indent="-177800"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bg1"/>
                </a:solidFill>
                <a:latin typeface="+mn-lt"/>
              </a:rPr>
              <a:t>To ensure a clean and </a:t>
            </a:r>
            <a:br>
              <a:rPr lang="en-US" sz="1100">
                <a:solidFill>
                  <a:schemeClr val="bg1"/>
                </a:solidFill>
                <a:latin typeface="+mn-lt"/>
              </a:rPr>
            </a:br>
            <a:r>
              <a:rPr lang="en-US" sz="1100">
                <a:solidFill>
                  <a:schemeClr val="bg1"/>
                </a:solidFill>
                <a:latin typeface="+mn-lt"/>
              </a:rPr>
              <a:t>swift workflow with </a:t>
            </a:r>
            <a:r>
              <a:rPr lang="en-US" sz="1100" b="1">
                <a:solidFill>
                  <a:schemeClr val="tx1"/>
                </a:solidFill>
                <a:latin typeface="+mn-lt"/>
              </a:rPr>
              <a:t>bullet points</a:t>
            </a:r>
            <a:r>
              <a:rPr lang="en-US" sz="1100">
                <a:solidFill>
                  <a:schemeClr val="tx1"/>
                </a:solidFill>
                <a:latin typeface="+mn-lt"/>
              </a:rPr>
              <a:t>,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 please use the </a:t>
            </a:r>
            <a:br>
              <a:rPr lang="en-US" sz="1100">
                <a:solidFill>
                  <a:schemeClr val="bg1"/>
                </a:solidFill>
                <a:latin typeface="+mn-lt"/>
              </a:rPr>
            </a:br>
            <a:r>
              <a:rPr lang="en-US" sz="1100">
                <a:solidFill>
                  <a:schemeClr val="bg1"/>
                </a:solidFill>
                <a:latin typeface="+mn-lt"/>
              </a:rPr>
              <a:t>PRE-SET PLACEHOLDERS or FORMATTED TEXTBOXES</a:t>
            </a:r>
            <a:r>
              <a:rPr lang="en-US" sz="1100" b="1">
                <a:solidFill>
                  <a:schemeClr val="bg1"/>
                </a:solidFill>
                <a:latin typeface="+mn-lt"/>
              </a:rPr>
              <a:t> 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– do not use “normal” textboxes that have been added via the steps </a:t>
            </a:r>
            <a:br>
              <a:rPr lang="en-US" sz="1100">
                <a:solidFill>
                  <a:schemeClr val="bg1"/>
                </a:solidFill>
                <a:latin typeface="+mn-lt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  <a:t> add  textbox. 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  <a:t>These textboxes cannot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  <a:t>be formatted with the automatic formatting step </a:t>
            </a:r>
          </a:p>
          <a:p>
            <a:pPr marL="177800" lvl="1" indent="-177800"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tx1"/>
                </a:solidFill>
                <a:latin typeface="+mn-lt"/>
                <a:sym typeface="Wingdings" panose="05000000000000000000" pitchFamily="2" charset="2"/>
              </a:rPr>
              <a:t>AUTOMATIC INDENTATIONS </a:t>
            </a:r>
            <a: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  <a:t>IN PLACEHOLDERS are only 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  <a:t>to be done using the tool decrease or increase 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  <a:t>the list level                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</a:br>
            <a:br>
              <a:rPr lang="en-US" sz="1100">
                <a:solidFill>
                  <a:schemeClr val="bg1"/>
                </a:solidFill>
                <a:latin typeface="+mn-lt"/>
                <a:sym typeface="Wingdings" panose="05000000000000000000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</a:rPr>
              <a:t>(or Shift + Alt + </a:t>
            </a: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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 / </a:t>
            </a: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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)</a:t>
            </a:r>
          </a:p>
          <a:p>
            <a:pPr marL="177800" lvl="1" indent="-177800"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100" b="1">
                <a:solidFill>
                  <a:schemeClr val="tx1"/>
                </a:solidFill>
                <a:latin typeface="+mn-lt"/>
              </a:rPr>
              <a:t>Formatted textboxes/ placeholders </a:t>
            </a:r>
            <a:r>
              <a:rPr lang="en-US" sz="1100">
                <a:solidFill>
                  <a:schemeClr val="bg1"/>
                </a:solidFill>
                <a:latin typeface="+mn-lt"/>
              </a:rPr>
              <a:t>are available in the template – just make a copy OR: generate a new placeholder by following these steps </a:t>
            </a:r>
            <a:br>
              <a:rPr lang="en-US" sz="1100">
                <a:solidFill>
                  <a:schemeClr val="bg1"/>
                </a:solidFill>
                <a:latin typeface="+mn-lt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 Start  new slide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 choose layout 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"Content Slide"</a:t>
            </a:r>
          </a:p>
          <a:p>
            <a:pPr marL="177800" lvl="1" indent="-177800"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Placeholders can be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filled and then copied. </a:t>
            </a:r>
            <a:b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</a:br>
            <a:r>
              <a:rPr lang="en-US" sz="1100">
                <a:solidFill>
                  <a:schemeClr val="bg1"/>
                </a:solidFill>
                <a:latin typeface="+mn-lt"/>
                <a:sym typeface="Wingdings" pitchFamily="2" charset="2"/>
              </a:rPr>
              <a:t>The copied placeholder will keep its formatting </a:t>
            </a:r>
            <a:endParaRPr lang="en-US" sz="11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5" name="Picture 20"/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3558193" y="2986205"/>
            <a:ext cx="369481" cy="210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Abgerundetes Rechteck 11"/>
          <p:cNvSpPr/>
          <p:nvPr userDrawn="1"/>
        </p:nvSpPr>
        <p:spPr>
          <a:xfrm>
            <a:off x="-2160000" y="7603200"/>
            <a:ext cx="1800000" cy="635000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>
                <a:solidFill>
                  <a:schemeClr val="bg1"/>
                </a:solidFill>
                <a:latin typeface="+mn-lt"/>
              </a:rPr>
              <a:t>Add a </a:t>
            </a:r>
            <a:r>
              <a:rPr lang="de-DE" sz="1100" err="1"/>
              <a:t>Footnote</a:t>
            </a:r>
            <a:r>
              <a:rPr lang="de-DE" sz="1100"/>
              <a:t>/Source/ Disclaimer </a:t>
            </a:r>
            <a:r>
              <a:rPr lang="de-DE" sz="1100" err="1"/>
              <a:t>directly</a:t>
            </a:r>
            <a:r>
              <a:rPr lang="de-DE" sz="1100"/>
              <a:t> </a:t>
            </a:r>
            <a:r>
              <a:rPr lang="de-DE" sz="1100" err="1"/>
              <a:t>into</a:t>
            </a:r>
            <a:r>
              <a:rPr lang="de-DE" sz="1100"/>
              <a:t> </a:t>
            </a:r>
            <a:r>
              <a:rPr lang="de-DE" sz="1100" err="1"/>
              <a:t>the</a:t>
            </a:r>
            <a:r>
              <a:rPr lang="de-DE" sz="1100"/>
              <a:t> </a:t>
            </a:r>
            <a:r>
              <a:rPr lang="de-DE" sz="1100" err="1"/>
              <a:t>footer</a:t>
            </a:r>
            <a:r>
              <a:rPr lang="de-DE" sz="1100"/>
              <a:t>. </a:t>
            </a:r>
            <a:endParaRPr lang="en-US" sz="11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8" name="Picture 6" descr="\\vmware-host\Shared Folders\von PS\Siemens Healthineers\sh_logo_RGB.wmf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29047" y="276113"/>
            <a:ext cx="1472040" cy="35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8492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2" y="4359602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21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2" y="5090402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10" y="497116"/>
            <a:ext cx="2484000" cy="59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7948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5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821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81470" y="2562267"/>
            <a:ext cx="9122580" cy="1476986"/>
          </a:xfrm>
        </p:spPr>
        <p:txBody>
          <a:bodyPr/>
          <a:lstStyle>
            <a:lvl1pPr>
              <a:defRPr sz="479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title headline,  </a:t>
            </a:r>
            <a:br>
              <a:rPr lang="en-US" dirty="0"/>
            </a:br>
            <a:r>
              <a:rPr lang="en-US" dirty="0"/>
              <a:t>Calibri Bold, 48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02216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 Title Picture">
    <p:bg bwMode="lt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4" y="2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2" rIns="91420" bIns="45712" rtlCol="0" anchor="ctr"/>
          <a:lstStyle/>
          <a:p>
            <a:pPr algn="ctr" defTabSz="914213"/>
            <a:endParaRPr lang="de-DE">
              <a:solidFill>
                <a:srgbClr val="FFFFFF"/>
              </a:solidFill>
            </a:endParaRPr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5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6394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213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994776" y="6519470"/>
            <a:ext cx="26336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213"/>
            <a:r>
              <a:rPr lang="de-DE" sz="1000">
                <a:solidFill>
                  <a:srgbClr val="FFFFFF"/>
                </a:solidFill>
              </a:rPr>
              <a:t>Confidential © Siemens Healthcare GmbH, 2018</a:t>
            </a:r>
            <a:endParaRPr lang="de-DE" sz="1000" dirty="0">
              <a:solidFill>
                <a:srgbClr val="FFFFFF"/>
              </a:solidFill>
            </a:endParaRP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10" y="497116"/>
            <a:ext cx="2484000" cy="592209"/>
          </a:xfrm>
          <a:prstGeom prst="rect">
            <a:avLst/>
          </a:prstGeom>
        </p:spPr>
      </p:pic>
      <p:pic>
        <p:nvPicPr>
          <p:cNvPr id="10" name="Dot pulse">
            <a:extLst>
              <a:ext uri="{FF2B5EF4-FFF2-40B4-BE49-F238E27FC236}">
                <a16:creationId xmlns:a16="http://schemas.microsoft.com/office/drawing/2014/main" id="{83AA73CA-92FE-4AF2-955D-86323FFD94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0247" y="5471734"/>
            <a:ext cx="2826000" cy="144267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5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6" tIns="35992" rIns="71986" bIns="35992" rtlCol="0" anchor="ctr"/>
          <a:lstStyle/>
          <a:p>
            <a:pPr defTabSz="914213">
              <a:defRPr/>
            </a:pPr>
            <a:r>
              <a:rPr lang="en-US" sz="1100" b="1" dirty="0">
                <a:solidFill>
                  <a:srgbClr val="000000"/>
                </a:solidFill>
              </a:rPr>
              <a:t>The animation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>
                <a:solidFill>
                  <a:srgbClr val="FFFFFF"/>
                </a:solidFill>
              </a:rPr>
              <a:t>of the dot pulse </a:t>
            </a:r>
            <a:r>
              <a:rPr lang="en-US" sz="1100" dirty="0">
                <a:solidFill>
                  <a:srgbClr val="000000"/>
                </a:solidFill>
              </a:rPr>
              <a:t>can be optionally  switched off on the master layout.</a:t>
            </a:r>
          </a:p>
          <a:p>
            <a:pPr defTabSz="914213"/>
            <a:r>
              <a:rPr lang="en-US" sz="1100">
                <a:solidFill>
                  <a:srgbClr val="FFFFFF"/>
                </a:solidFill>
              </a:rPr>
              <a:t>Frei verwendbar</a:t>
            </a:r>
            <a:endParaRPr lang="en-US" sz="1100" dirty="0">
              <a:solidFill>
                <a:srgbClr val="FFFFFF"/>
              </a:solidFill>
            </a:endParaRPr>
          </a:p>
          <a:p>
            <a:pPr defTabSz="914213"/>
            <a:r>
              <a:rPr lang="en-US" sz="1100" dirty="0">
                <a:solidFill>
                  <a:srgbClr val="FFFFFF"/>
                </a:solidFill>
              </a:rPr>
              <a:t>Go to View &gt; Slide Master</a:t>
            </a:r>
          </a:p>
          <a:p>
            <a:pPr defTabSz="914213"/>
            <a:r>
              <a:rPr lang="en-US" sz="1100" dirty="0">
                <a:solidFill>
                  <a:srgbClr val="FFFFFF"/>
                </a:solidFill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2418979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3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8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8251662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11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552"/>
            <a:ext cx="3583082" cy="287750"/>
          </a:xfrm>
        </p:spPr>
        <p:txBody>
          <a:bodyPr/>
          <a:lstStyle>
            <a:lvl1pPr algn="ctr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040246" y="1623552"/>
            <a:ext cx="3588194" cy="287750"/>
          </a:xfrm>
        </p:spPr>
        <p:txBody>
          <a:bodyPr/>
          <a:lstStyle>
            <a:lvl1pPr algn="ctr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 bwMode="auto">
          <a:xfrm>
            <a:off x="547144" y="1911352"/>
            <a:ext cx="3575938" cy="1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 userDrawn="1"/>
        </p:nvCxnSpPr>
        <p:spPr bwMode="auto">
          <a:xfrm>
            <a:off x="4296475" y="1911352"/>
            <a:ext cx="3575938" cy="1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Gerade Verbindung 19"/>
          <p:cNvCxnSpPr/>
          <p:nvPr userDrawn="1"/>
        </p:nvCxnSpPr>
        <p:spPr bwMode="auto">
          <a:xfrm>
            <a:off x="8052500" y="1911352"/>
            <a:ext cx="3575938" cy="1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475" y="1623552"/>
            <a:ext cx="3583082" cy="287750"/>
          </a:xfrm>
        </p:spPr>
        <p:txBody>
          <a:bodyPr/>
          <a:lstStyle>
            <a:lvl1pPr algn="ctr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5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3836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2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2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2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lIns="91420" tIns="45712" rIns="91420" bIns="45712"/>
          <a:lstStyle>
            <a:lvl1pPr>
              <a:lnSpc>
                <a:spcPct val="100000"/>
              </a:lnSpc>
              <a:defRPr/>
            </a:lvl1pPr>
          </a:lstStyle>
          <a:p>
            <a:pPr defTabSz="914213"/>
            <a:r>
              <a:rPr lang="en-US">
                <a:solidFill>
                  <a:srgbClr val="000000"/>
                </a:solidFill>
              </a:rPr>
              <a:t>Author | Department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5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7800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ntro Title Picture 1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sic version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0" y="1915073"/>
            <a:ext cx="5461200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XX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18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DE39D8A-953A-47CE-98EA-F9894B2939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grpSp>
        <p:nvGrpSpPr>
          <p:cNvPr id="10" name="Marker">
            <a:extLst>
              <a:ext uri="{FF2B5EF4-FFF2-40B4-BE49-F238E27FC236}">
                <a16:creationId xmlns:a16="http://schemas.microsoft.com/office/drawing/2014/main" id="{4F9E9FCD-742D-46E1-BF30-84F70551DE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4" name="Gerade Verbindung 40">
              <a:extLst>
                <a:ext uri="{FF2B5EF4-FFF2-40B4-BE49-F238E27FC236}">
                  <a16:creationId xmlns:a16="http://schemas.microsoft.com/office/drawing/2014/main" id="{B24E1957-924B-4B32-AC98-392FC05BC71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2">
              <a:extLst>
                <a:ext uri="{FF2B5EF4-FFF2-40B4-BE49-F238E27FC236}">
                  <a16:creationId xmlns:a16="http://schemas.microsoft.com/office/drawing/2014/main" id="{3723C1C0-B9CC-43B0-8ECF-4CF497E05B9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45">
              <a:extLst>
                <a:ext uri="{FF2B5EF4-FFF2-40B4-BE49-F238E27FC236}">
                  <a16:creationId xmlns:a16="http://schemas.microsoft.com/office/drawing/2014/main" id="{AC9DAF91-9131-40F3-9CC4-BA86F19E9BE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6">
              <a:extLst>
                <a:ext uri="{FF2B5EF4-FFF2-40B4-BE49-F238E27FC236}">
                  <a16:creationId xmlns:a16="http://schemas.microsoft.com/office/drawing/2014/main" id="{BE8D8C74-6F33-450E-A96D-78A772A0F95D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8">
              <a:extLst>
                <a:ext uri="{FF2B5EF4-FFF2-40B4-BE49-F238E27FC236}">
                  <a16:creationId xmlns:a16="http://schemas.microsoft.com/office/drawing/2014/main" id="{7702153C-11D8-48FA-AEE2-6F5AD36602E1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9">
              <a:extLst>
                <a:ext uri="{FF2B5EF4-FFF2-40B4-BE49-F238E27FC236}">
                  <a16:creationId xmlns:a16="http://schemas.microsoft.com/office/drawing/2014/main" id="{02741E4A-D8AB-45FD-9520-EC37F4D220BE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1">
              <a:extLst>
                <a:ext uri="{FF2B5EF4-FFF2-40B4-BE49-F238E27FC236}">
                  <a16:creationId xmlns:a16="http://schemas.microsoft.com/office/drawing/2014/main" id="{438C85B6-41F6-4031-951E-03318D7A0054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2">
              <a:extLst>
                <a:ext uri="{FF2B5EF4-FFF2-40B4-BE49-F238E27FC236}">
                  <a16:creationId xmlns:a16="http://schemas.microsoft.com/office/drawing/2014/main" id="{1C8CADB2-3160-480F-823A-B7330907A8A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4">
              <a:extLst>
                <a:ext uri="{FF2B5EF4-FFF2-40B4-BE49-F238E27FC236}">
                  <a16:creationId xmlns:a16="http://schemas.microsoft.com/office/drawing/2014/main" id="{08DECA1D-5C90-40F9-8B96-76D7F15CD1BF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5">
              <a:extLst>
                <a:ext uri="{FF2B5EF4-FFF2-40B4-BE49-F238E27FC236}">
                  <a16:creationId xmlns:a16="http://schemas.microsoft.com/office/drawing/2014/main" id="{7979D8F3-802D-4062-8AFD-68932B96FA5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7">
              <a:extLst>
                <a:ext uri="{FF2B5EF4-FFF2-40B4-BE49-F238E27FC236}">
                  <a16:creationId xmlns:a16="http://schemas.microsoft.com/office/drawing/2014/main" id="{33325800-EDE6-4AF4-BD69-D5FFD75F38B9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8">
              <a:extLst>
                <a:ext uri="{FF2B5EF4-FFF2-40B4-BE49-F238E27FC236}">
                  <a16:creationId xmlns:a16="http://schemas.microsoft.com/office/drawing/2014/main" id="{4206BEEE-480B-49C8-9CC2-DCCF7BAE926A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0">
              <a:extLst>
                <a:ext uri="{FF2B5EF4-FFF2-40B4-BE49-F238E27FC236}">
                  <a16:creationId xmlns:a16="http://schemas.microsoft.com/office/drawing/2014/main" id="{B01330DF-31E8-41BB-BB64-D111079199FB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1">
              <a:extLst>
                <a:ext uri="{FF2B5EF4-FFF2-40B4-BE49-F238E27FC236}">
                  <a16:creationId xmlns:a16="http://schemas.microsoft.com/office/drawing/2014/main" id="{56DA5681-8E3F-4743-8EF1-3A26AFBA2D0C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3">
              <a:extLst>
                <a:ext uri="{FF2B5EF4-FFF2-40B4-BE49-F238E27FC236}">
                  <a16:creationId xmlns:a16="http://schemas.microsoft.com/office/drawing/2014/main" id="{A0A16D56-A6C0-476D-B54E-1F91B9295FE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4">
              <a:extLst>
                <a:ext uri="{FF2B5EF4-FFF2-40B4-BE49-F238E27FC236}">
                  <a16:creationId xmlns:a16="http://schemas.microsoft.com/office/drawing/2014/main" id="{76CF84AF-FF9F-4188-8D5E-D36C8BD2DF9B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6">
              <a:extLst>
                <a:ext uri="{FF2B5EF4-FFF2-40B4-BE49-F238E27FC236}">
                  <a16:creationId xmlns:a16="http://schemas.microsoft.com/office/drawing/2014/main" id="{AFC658B4-E805-4F62-BC10-2B66C1A624D3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7">
              <a:extLst>
                <a:ext uri="{FF2B5EF4-FFF2-40B4-BE49-F238E27FC236}">
                  <a16:creationId xmlns:a16="http://schemas.microsoft.com/office/drawing/2014/main" id="{81490234-061B-439C-B9BB-4649388BFF76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9">
              <a:extLst>
                <a:ext uri="{FF2B5EF4-FFF2-40B4-BE49-F238E27FC236}">
                  <a16:creationId xmlns:a16="http://schemas.microsoft.com/office/drawing/2014/main" id="{DC503340-8CFE-41C4-8E76-A89BBA3E866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0">
              <a:extLst>
                <a:ext uri="{FF2B5EF4-FFF2-40B4-BE49-F238E27FC236}">
                  <a16:creationId xmlns:a16="http://schemas.microsoft.com/office/drawing/2014/main" id="{F892A3F5-774B-4E0A-97C7-096B6F7C7D5F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2">
              <a:extLst>
                <a:ext uri="{FF2B5EF4-FFF2-40B4-BE49-F238E27FC236}">
                  <a16:creationId xmlns:a16="http://schemas.microsoft.com/office/drawing/2014/main" id="{8A888B05-B1F3-406C-87F1-E6192ADA3683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3">
              <a:extLst>
                <a:ext uri="{FF2B5EF4-FFF2-40B4-BE49-F238E27FC236}">
                  <a16:creationId xmlns:a16="http://schemas.microsoft.com/office/drawing/2014/main" id="{D1090434-5877-46B5-BF33-531B7A8C7DC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5">
              <a:extLst>
                <a:ext uri="{FF2B5EF4-FFF2-40B4-BE49-F238E27FC236}">
                  <a16:creationId xmlns:a16="http://schemas.microsoft.com/office/drawing/2014/main" id="{F32AD25A-4558-4DB1-A9BF-60609201F871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6">
              <a:extLst>
                <a:ext uri="{FF2B5EF4-FFF2-40B4-BE49-F238E27FC236}">
                  <a16:creationId xmlns:a16="http://schemas.microsoft.com/office/drawing/2014/main" id="{675E5CF4-327E-4B18-A1E3-25AD6DE6CD20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8">
              <a:extLst>
                <a:ext uri="{FF2B5EF4-FFF2-40B4-BE49-F238E27FC236}">
                  <a16:creationId xmlns:a16="http://schemas.microsoft.com/office/drawing/2014/main" id="{DC08C787-6E18-4109-A5C3-B8A16F3CCC1E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9">
              <a:extLst>
                <a:ext uri="{FF2B5EF4-FFF2-40B4-BE49-F238E27FC236}">
                  <a16:creationId xmlns:a16="http://schemas.microsoft.com/office/drawing/2014/main" id="{89D6A79A-1FDD-4F89-95E3-CB13CBD2446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1">
              <a:extLst>
                <a:ext uri="{FF2B5EF4-FFF2-40B4-BE49-F238E27FC236}">
                  <a16:creationId xmlns:a16="http://schemas.microsoft.com/office/drawing/2014/main" id="{FE49C4DE-2480-4EA8-A7B2-7338C3FA1D8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2">
              <a:extLst>
                <a:ext uri="{FF2B5EF4-FFF2-40B4-BE49-F238E27FC236}">
                  <a16:creationId xmlns:a16="http://schemas.microsoft.com/office/drawing/2014/main" id="{B9E3421E-4B30-4224-9E37-B7E754802DA0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4">
              <a:extLst>
                <a:ext uri="{FF2B5EF4-FFF2-40B4-BE49-F238E27FC236}">
                  <a16:creationId xmlns:a16="http://schemas.microsoft.com/office/drawing/2014/main" id="{DA6060AB-6C7C-4BEF-A23F-E08FABF337E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5">
              <a:extLst>
                <a:ext uri="{FF2B5EF4-FFF2-40B4-BE49-F238E27FC236}">
                  <a16:creationId xmlns:a16="http://schemas.microsoft.com/office/drawing/2014/main" id="{AEB77FCC-B762-4268-B48D-8C286B0B5FCD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7">
              <a:extLst>
                <a:ext uri="{FF2B5EF4-FFF2-40B4-BE49-F238E27FC236}">
                  <a16:creationId xmlns:a16="http://schemas.microsoft.com/office/drawing/2014/main" id="{602DEF80-DDB7-4C37-BEF5-4ED92FF5F617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8">
              <a:extLst>
                <a:ext uri="{FF2B5EF4-FFF2-40B4-BE49-F238E27FC236}">
                  <a16:creationId xmlns:a16="http://schemas.microsoft.com/office/drawing/2014/main" id="{0D6F50FA-616B-4757-AACE-9E6B9D13D102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0">
              <a:extLst>
                <a:ext uri="{FF2B5EF4-FFF2-40B4-BE49-F238E27FC236}">
                  <a16:creationId xmlns:a16="http://schemas.microsoft.com/office/drawing/2014/main" id="{E25B822E-4C64-4F6B-87FF-80A3B1AD742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1">
              <a:extLst>
                <a:ext uri="{FF2B5EF4-FFF2-40B4-BE49-F238E27FC236}">
                  <a16:creationId xmlns:a16="http://schemas.microsoft.com/office/drawing/2014/main" id="{63E137D2-A3F5-4FBC-932A-2819BE57E31B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3">
              <a:extLst>
                <a:ext uri="{FF2B5EF4-FFF2-40B4-BE49-F238E27FC236}">
                  <a16:creationId xmlns:a16="http://schemas.microsoft.com/office/drawing/2014/main" id="{3E9051B1-BB20-4E8D-BCDB-281846B5C4D2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4">
              <a:extLst>
                <a:ext uri="{FF2B5EF4-FFF2-40B4-BE49-F238E27FC236}">
                  <a16:creationId xmlns:a16="http://schemas.microsoft.com/office/drawing/2014/main" id="{92AF1CF3-409B-4CFC-8CF5-9335F6EBDA7F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6">
              <a:extLst>
                <a:ext uri="{FF2B5EF4-FFF2-40B4-BE49-F238E27FC236}">
                  <a16:creationId xmlns:a16="http://schemas.microsoft.com/office/drawing/2014/main" id="{FCEF3C24-1717-4AD4-89FC-C426D39075D8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7">
              <a:extLst>
                <a:ext uri="{FF2B5EF4-FFF2-40B4-BE49-F238E27FC236}">
                  <a16:creationId xmlns:a16="http://schemas.microsoft.com/office/drawing/2014/main" id="{8B1D5162-640B-46A5-A654-C6D09805AFEB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9">
              <a:extLst>
                <a:ext uri="{FF2B5EF4-FFF2-40B4-BE49-F238E27FC236}">
                  <a16:creationId xmlns:a16="http://schemas.microsoft.com/office/drawing/2014/main" id="{1BC8CCF0-A04B-483C-A5D9-DC6D5422A4A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0">
              <a:extLst>
                <a:ext uri="{FF2B5EF4-FFF2-40B4-BE49-F238E27FC236}">
                  <a16:creationId xmlns:a16="http://schemas.microsoft.com/office/drawing/2014/main" id="{550201A4-766C-4D98-8904-F0DC85F073A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2">
              <a:extLst>
                <a:ext uri="{FF2B5EF4-FFF2-40B4-BE49-F238E27FC236}">
                  <a16:creationId xmlns:a16="http://schemas.microsoft.com/office/drawing/2014/main" id="{AA49446A-7D8D-4E67-A483-8C16A61EF1EB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3">
              <a:extLst>
                <a:ext uri="{FF2B5EF4-FFF2-40B4-BE49-F238E27FC236}">
                  <a16:creationId xmlns:a16="http://schemas.microsoft.com/office/drawing/2014/main" id="{004B0CA6-A1AC-42A5-8EEB-057DBA70F69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5">
              <a:extLst>
                <a:ext uri="{FF2B5EF4-FFF2-40B4-BE49-F238E27FC236}">
                  <a16:creationId xmlns:a16="http://schemas.microsoft.com/office/drawing/2014/main" id="{4E5CFAB8-3AC7-48AE-AA93-6B164227D93F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6">
              <a:extLst>
                <a:ext uri="{FF2B5EF4-FFF2-40B4-BE49-F238E27FC236}">
                  <a16:creationId xmlns:a16="http://schemas.microsoft.com/office/drawing/2014/main" id="{CA585964-C7A7-476E-9872-64F2A028019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8">
              <a:extLst>
                <a:ext uri="{FF2B5EF4-FFF2-40B4-BE49-F238E27FC236}">
                  <a16:creationId xmlns:a16="http://schemas.microsoft.com/office/drawing/2014/main" id="{0C05D43F-973E-4492-9973-F05CAB253C6A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9">
              <a:extLst>
                <a:ext uri="{FF2B5EF4-FFF2-40B4-BE49-F238E27FC236}">
                  <a16:creationId xmlns:a16="http://schemas.microsoft.com/office/drawing/2014/main" id="{56A4FC24-C058-4E89-8EEE-7564E6DCDDA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1">
              <a:extLst>
                <a:ext uri="{FF2B5EF4-FFF2-40B4-BE49-F238E27FC236}">
                  <a16:creationId xmlns:a16="http://schemas.microsoft.com/office/drawing/2014/main" id="{B8E49EA3-6090-429B-A8F9-5A51177F18FA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12">
              <a:extLst>
                <a:ext uri="{FF2B5EF4-FFF2-40B4-BE49-F238E27FC236}">
                  <a16:creationId xmlns:a16="http://schemas.microsoft.com/office/drawing/2014/main" id="{FD0695E3-84CD-4075-BF0A-9D68D0744B6B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4">
              <a:extLst>
                <a:ext uri="{FF2B5EF4-FFF2-40B4-BE49-F238E27FC236}">
                  <a16:creationId xmlns:a16="http://schemas.microsoft.com/office/drawing/2014/main" id="{483ED0C6-9605-42C7-A367-E233854FC8C4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6">
              <a:extLst>
                <a:ext uri="{FF2B5EF4-FFF2-40B4-BE49-F238E27FC236}">
                  <a16:creationId xmlns:a16="http://schemas.microsoft.com/office/drawing/2014/main" id="{BA00D700-2CF6-4129-84F2-837A53EECDE1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7">
              <a:extLst>
                <a:ext uri="{FF2B5EF4-FFF2-40B4-BE49-F238E27FC236}">
                  <a16:creationId xmlns:a16="http://schemas.microsoft.com/office/drawing/2014/main" id="{E5020BE1-72C4-4EFF-A3B0-809CFDE6192B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8">
              <a:extLst>
                <a:ext uri="{FF2B5EF4-FFF2-40B4-BE49-F238E27FC236}">
                  <a16:creationId xmlns:a16="http://schemas.microsoft.com/office/drawing/2014/main" id="{7B13064D-2545-4159-89F3-C4105F81787C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206959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47" y="1640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7" name="Objek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7" y="1640"/>
                        <a:ext cx="158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1508" y="6596123"/>
            <a:ext cx="5495721" cy="15385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998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9286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1470" y="1630021"/>
            <a:ext cx="5495720" cy="1846231"/>
          </a:xfrm>
        </p:spPr>
        <p:txBody>
          <a:bodyPr wrap="square">
            <a:spAutoFit/>
          </a:bodyPr>
          <a:lstStyle>
            <a:lvl1pPr>
              <a:defRPr sz="1995" b="0">
                <a:solidFill>
                  <a:schemeClr val="tx1"/>
                </a:solidFill>
              </a:defRPr>
            </a:lvl1pPr>
            <a:lvl2pPr>
              <a:defRPr sz="1995"/>
            </a:lvl2pPr>
            <a:lvl3pPr>
              <a:defRPr sz="1995"/>
            </a:lvl3pPr>
            <a:lvl4pPr>
              <a:defRPr sz="1995"/>
            </a:lvl4pPr>
            <a:lvl5pPr>
              <a:defRPr sz="1995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6119770" y="1630021"/>
            <a:ext cx="5495721" cy="4677279"/>
          </a:xfrm>
        </p:spPr>
        <p:txBody>
          <a:bodyPr/>
          <a:lstStyle>
            <a:lvl1pPr>
              <a:defRPr sz="1995"/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1501" y="6596123"/>
            <a:ext cx="5495721" cy="15385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998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49722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1501" y="1630017"/>
            <a:ext cx="5495721" cy="1846231"/>
          </a:xfrm>
        </p:spPr>
        <p:txBody>
          <a:bodyPr wrap="square">
            <a:spAutoFit/>
          </a:bodyPr>
          <a:lstStyle>
            <a:lvl1pPr>
              <a:defRPr sz="1995" b="0">
                <a:solidFill>
                  <a:schemeClr val="tx1"/>
                </a:solidFill>
              </a:defRPr>
            </a:lvl1pPr>
            <a:lvl2pPr>
              <a:defRPr sz="1995"/>
            </a:lvl2pPr>
            <a:lvl3pPr>
              <a:defRPr sz="1995"/>
            </a:lvl3pPr>
            <a:lvl4pPr>
              <a:defRPr sz="1995"/>
            </a:lvl4pPr>
            <a:lvl5pPr>
              <a:defRPr sz="1995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19762" y="1630017"/>
            <a:ext cx="5495721" cy="1846231"/>
          </a:xfrm>
        </p:spPr>
        <p:txBody>
          <a:bodyPr>
            <a:spAutoFit/>
          </a:bodyPr>
          <a:lstStyle>
            <a:lvl1pPr>
              <a:defRPr sz="1995" b="0">
                <a:solidFill>
                  <a:schemeClr val="tx1"/>
                </a:solidFill>
              </a:defRPr>
            </a:lvl1pPr>
            <a:lvl2pPr>
              <a:defRPr sz="1995"/>
            </a:lvl2pPr>
            <a:lvl3pPr>
              <a:defRPr sz="1995"/>
            </a:lvl3pPr>
            <a:lvl4pPr>
              <a:defRPr sz="1995"/>
            </a:lvl4pPr>
            <a:lvl5pPr>
              <a:defRPr sz="1995"/>
            </a:lvl5pPr>
          </a:lstStyle>
          <a:p>
            <a:pPr lvl="0"/>
            <a:r>
              <a:rPr lang="en-US" noProof="0" dirty="0"/>
              <a:t>Subhead, Calibri, 20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1501" y="6596123"/>
            <a:ext cx="5495721" cy="15385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de-DE" sz="998" dirty="0" smtClean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7210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8" y="1623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8" y="1623"/>
                        <a:ext cx="158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1" y="0"/>
            <a:ext cx="12169775" cy="11646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3481" tIns="429987" rIns="2114097" bIns="232910" numCol="1" anchor="t" anchorCtr="0" compatLnSpc="1">
            <a:prstTxWarp prst="textNoShape">
              <a:avLst/>
            </a:prstTxWarp>
          </a:bodyPr>
          <a:lstStyle>
            <a:lvl1pPr marL="0" marR="0" indent="0" algn="l" defTabSz="908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0822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1995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21210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619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6" y="1619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1483" y="1629985"/>
            <a:ext cx="11133983" cy="2307790"/>
          </a:xfrm>
        </p:spPr>
        <p:txBody>
          <a:bodyPr>
            <a:spAutoFit/>
          </a:bodyPr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1508" y="6596123"/>
            <a:ext cx="5495721" cy="153852"/>
          </a:xfrm>
        </p:spPr>
        <p:txBody>
          <a:bodyPr wrap="square" anchor="b">
            <a:spAutoFit/>
          </a:bodyPr>
          <a:lstStyle>
            <a:lvl1pPr>
              <a:defRPr sz="998" b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Footnote | Source | Disclaimer, Calibri , 10 </a:t>
            </a:r>
            <a:r>
              <a:rPr lang="en-US" dirty="0" err="1"/>
              <a:t>pt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8726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16" y="1619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16" y="1619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3574800" cy="360000"/>
          </a:xfrm>
        </p:spPr>
        <p:txBody>
          <a:bodyPr anchor="b" anchorCtr="0">
            <a:noAutofit/>
          </a:bodyPr>
          <a:lstStyle>
            <a:lvl1pPr>
              <a:lnSpc>
                <a:spcPts val="1197"/>
              </a:lnSpc>
              <a:defRPr sz="998" b="0"/>
            </a:lvl1pPr>
          </a:lstStyle>
          <a:p>
            <a:r>
              <a:rPr lang="en-US" dirty="0"/>
              <a:t>Footnote/Source/Disclaimer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28" y="1622456"/>
            <a:ext cx="9212400" cy="45704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0956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16" y="1619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16" y="1619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el 1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28" y="1622483"/>
            <a:ext cx="9212400" cy="45704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3726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2" Type="http://schemas.openxmlformats.org/officeDocument/2006/relationships/theme" Target="../theme/theme2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image" Target="../media/image12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oleObject" Target="../embeddings/oleObject14.bin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621" y="1635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35"/>
                        <a:ext cx="158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DB06C784-D28C-406B-A5F6-0418DC142BD0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378" cy="158713"/>
          </a:xfrm>
          <a:prstGeom prst="rect">
            <a:avLst/>
          </a:prstGeom>
          <a:solidFill>
            <a:srgbClr val="FDDDCB"/>
          </a:solidFill>
          <a:ln w="9525">
            <a:solidFill>
              <a:srgbClr val="FDDD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194" b="1" i="0" baseline="0" dirty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1470" y="216374"/>
            <a:ext cx="9122580" cy="49232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US" noProof="0" dirty="0"/>
              <a:t>Headline, Calibri Bold, 32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1470" y="1630033"/>
            <a:ext cx="11133982" cy="467727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Subhead, Calibri, 2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5" name="cdtTextBox 11 Id18"/>
          <p:cNvSpPr txBox="1"/>
          <p:nvPr>
            <p:custDataLst>
              <p:tags r:id="rId21"/>
            </p:custDataLst>
          </p:nvPr>
        </p:nvSpPr>
        <p:spPr>
          <a:xfrm>
            <a:off x="8001300" y="6596123"/>
            <a:ext cx="3612295" cy="15385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 defTabSz="1081271">
              <a:defRPr/>
            </a:pPr>
            <a:r>
              <a:rPr lang="en-US" sz="998" kern="0" dirty="0">
                <a:solidFill>
                  <a:srgbClr val="000000"/>
                </a:solidFill>
                <a:cs typeface="Arial" panose="020B0604020202020204" pitchFamily="34" charset="0"/>
              </a:rPr>
              <a:t>Page ‹Nr.› | Confidential © Siemens Healthineers AG, 2018</a:t>
            </a:r>
          </a:p>
        </p:txBody>
      </p:sp>
      <p:grpSp>
        <p:nvGrpSpPr>
          <p:cNvPr id="13" name="Gruppierung 140"/>
          <p:cNvGrpSpPr>
            <a:grpSpLocks noChangeAspect="1"/>
          </p:cNvGrpSpPr>
          <p:nvPr/>
        </p:nvGrpSpPr>
        <p:grpSpPr>
          <a:xfrm>
            <a:off x="10267853" y="341234"/>
            <a:ext cx="1634295" cy="385112"/>
            <a:chOff x="6613648" y="2453653"/>
            <a:chExt cx="2815390" cy="662028"/>
          </a:xfrm>
        </p:grpSpPr>
        <p:sp>
          <p:nvSpPr>
            <p:cNvPr id="14" name="Freihandform 35"/>
            <p:cNvSpPr>
              <a:spLocks noChangeAspect="1" noChangeArrowheads="1"/>
            </p:cNvSpPr>
            <p:nvPr/>
          </p:nvSpPr>
          <p:spPr bwMode="auto">
            <a:xfrm>
              <a:off x="8944950" y="2560629"/>
              <a:ext cx="484088" cy="476289"/>
            </a:xfrm>
            <a:custGeom>
              <a:avLst/>
              <a:gdLst>
                <a:gd name="connsiteX0" fmla="*/ 224003 w 484088"/>
                <a:gd name="connsiteY0" fmla="*/ 410646 h 476290"/>
                <a:gd name="connsiteX1" fmla="*/ 247187 w 484088"/>
                <a:gd name="connsiteY1" fmla="*/ 420103 h 476290"/>
                <a:gd name="connsiteX2" fmla="*/ 247187 w 484088"/>
                <a:gd name="connsiteY2" fmla="*/ 466833 h 476290"/>
                <a:gd name="connsiteX3" fmla="*/ 200818 w 484088"/>
                <a:gd name="connsiteY3" fmla="*/ 466833 h 476290"/>
                <a:gd name="connsiteX4" fmla="*/ 200818 w 484088"/>
                <a:gd name="connsiteY4" fmla="*/ 420103 h 476290"/>
                <a:gd name="connsiteX5" fmla="*/ 224003 w 484088"/>
                <a:gd name="connsiteY5" fmla="*/ 410646 h 476290"/>
                <a:gd name="connsiteX6" fmla="*/ 121049 w 484088"/>
                <a:gd name="connsiteY6" fmla="*/ 316301 h 476290"/>
                <a:gd name="connsiteX7" fmla="*/ 138696 w 484088"/>
                <a:gd name="connsiteY7" fmla="*/ 323796 h 476290"/>
                <a:gd name="connsiteX8" fmla="*/ 138696 w 484088"/>
                <a:gd name="connsiteY8" fmla="*/ 359325 h 476290"/>
                <a:gd name="connsiteX9" fmla="*/ 103128 w 484088"/>
                <a:gd name="connsiteY9" fmla="*/ 359325 h 476290"/>
                <a:gd name="connsiteX10" fmla="*/ 103128 w 484088"/>
                <a:gd name="connsiteY10" fmla="*/ 323796 h 476290"/>
                <a:gd name="connsiteX11" fmla="*/ 121049 w 484088"/>
                <a:gd name="connsiteY11" fmla="*/ 316301 h 476290"/>
                <a:gd name="connsiteX12" fmla="*/ 325449 w 484088"/>
                <a:gd name="connsiteY12" fmla="*/ 298284 h 476290"/>
                <a:gd name="connsiteX13" fmla="*/ 356024 w 484088"/>
                <a:gd name="connsiteY13" fmla="*/ 310902 h 476290"/>
                <a:gd name="connsiteX14" fmla="*/ 356024 w 484088"/>
                <a:gd name="connsiteY14" fmla="*/ 372214 h 476290"/>
                <a:gd name="connsiteX15" fmla="*/ 294874 w 484088"/>
                <a:gd name="connsiteY15" fmla="*/ 372214 h 476290"/>
                <a:gd name="connsiteX16" fmla="*/ 294874 w 484088"/>
                <a:gd name="connsiteY16" fmla="*/ 310902 h 476290"/>
                <a:gd name="connsiteX17" fmla="*/ 325449 w 484088"/>
                <a:gd name="connsiteY17" fmla="*/ 298284 h 476290"/>
                <a:gd name="connsiteX18" fmla="*/ 19273 w 484088"/>
                <a:gd name="connsiteY18" fmla="*/ 218685 h 476290"/>
                <a:gd name="connsiteX19" fmla="*/ 32986 w 484088"/>
                <a:gd name="connsiteY19" fmla="*/ 224259 h 476290"/>
                <a:gd name="connsiteX20" fmla="*/ 32986 w 484088"/>
                <a:gd name="connsiteY20" fmla="*/ 251759 h 476290"/>
                <a:gd name="connsiteX21" fmla="*/ 5560 w 484088"/>
                <a:gd name="connsiteY21" fmla="*/ 251759 h 476290"/>
                <a:gd name="connsiteX22" fmla="*/ 5560 w 484088"/>
                <a:gd name="connsiteY22" fmla="*/ 224259 h 476290"/>
                <a:gd name="connsiteX23" fmla="*/ 19273 w 484088"/>
                <a:gd name="connsiteY23" fmla="*/ 218685 h 476290"/>
                <a:gd name="connsiteX24" fmla="*/ 224003 w 484088"/>
                <a:gd name="connsiteY24" fmla="*/ 205318 h 476290"/>
                <a:gd name="connsiteX25" fmla="*/ 247187 w 484088"/>
                <a:gd name="connsiteY25" fmla="*/ 215174 h 476290"/>
                <a:gd name="connsiteX26" fmla="*/ 247187 w 484088"/>
                <a:gd name="connsiteY26" fmla="*/ 262482 h 476290"/>
                <a:gd name="connsiteX27" fmla="*/ 200818 w 484088"/>
                <a:gd name="connsiteY27" fmla="*/ 262482 h 476290"/>
                <a:gd name="connsiteX28" fmla="*/ 200818 w 484088"/>
                <a:gd name="connsiteY28" fmla="*/ 215174 h 476290"/>
                <a:gd name="connsiteX29" fmla="*/ 224003 w 484088"/>
                <a:gd name="connsiteY29" fmla="*/ 205318 h 476290"/>
                <a:gd name="connsiteX30" fmla="*/ 428279 w 484088"/>
                <a:gd name="connsiteY30" fmla="*/ 182871 h 476290"/>
                <a:gd name="connsiteX31" fmla="*/ 467652 w 484088"/>
                <a:gd name="connsiteY31" fmla="*/ 199351 h 476290"/>
                <a:gd name="connsiteX32" fmla="*/ 467652 w 484088"/>
                <a:gd name="connsiteY32" fmla="*/ 278307 h 476290"/>
                <a:gd name="connsiteX33" fmla="*/ 388906 w 484088"/>
                <a:gd name="connsiteY33" fmla="*/ 278307 h 476290"/>
                <a:gd name="connsiteX34" fmla="*/ 388906 w 484088"/>
                <a:gd name="connsiteY34" fmla="*/ 199351 h 476290"/>
                <a:gd name="connsiteX35" fmla="*/ 428279 w 484088"/>
                <a:gd name="connsiteY35" fmla="*/ 182871 h 476290"/>
                <a:gd name="connsiteX36" fmla="*/ 121049 w 484088"/>
                <a:gd name="connsiteY36" fmla="*/ 110842 h 476290"/>
                <a:gd name="connsiteX37" fmla="*/ 138696 w 484088"/>
                <a:gd name="connsiteY37" fmla="*/ 118337 h 476290"/>
                <a:gd name="connsiteX38" fmla="*/ 138696 w 484088"/>
                <a:gd name="connsiteY38" fmla="*/ 154236 h 476290"/>
                <a:gd name="connsiteX39" fmla="*/ 103128 w 484088"/>
                <a:gd name="connsiteY39" fmla="*/ 154236 h 476290"/>
                <a:gd name="connsiteX40" fmla="*/ 103128 w 484088"/>
                <a:gd name="connsiteY40" fmla="*/ 118337 h 476290"/>
                <a:gd name="connsiteX41" fmla="*/ 121049 w 484088"/>
                <a:gd name="connsiteY41" fmla="*/ 110842 h 476290"/>
                <a:gd name="connsiteX42" fmla="*/ 325683 w 484088"/>
                <a:gd name="connsiteY42" fmla="*/ 92919 h 476290"/>
                <a:gd name="connsiteX43" fmla="*/ 356092 w 484088"/>
                <a:gd name="connsiteY43" fmla="*/ 105817 h 476290"/>
                <a:gd name="connsiteX44" fmla="*/ 356092 w 484088"/>
                <a:gd name="connsiteY44" fmla="*/ 166756 h 476290"/>
                <a:gd name="connsiteX45" fmla="*/ 295553 w 484088"/>
                <a:gd name="connsiteY45" fmla="*/ 166756 h 476290"/>
                <a:gd name="connsiteX46" fmla="*/ 295553 w 484088"/>
                <a:gd name="connsiteY46" fmla="*/ 105817 h 476290"/>
                <a:gd name="connsiteX47" fmla="*/ 325683 w 484088"/>
                <a:gd name="connsiteY47" fmla="*/ 92919 h 476290"/>
                <a:gd name="connsiteX48" fmla="*/ 224003 w 484088"/>
                <a:gd name="connsiteY48" fmla="*/ 0 h 476290"/>
                <a:gd name="connsiteX49" fmla="*/ 247187 w 484088"/>
                <a:gd name="connsiteY49" fmla="*/ 9715 h 476290"/>
                <a:gd name="connsiteX50" fmla="*/ 247187 w 484088"/>
                <a:gd name="connsiteY50" fmla="*/ 57022 h 476290"/>
                <a:gd name="connsiteX51" fmla="*/ 200818 w 484088"/>
                <a:gd name="connsiteY51" fmla="*/ 57022 h 476290"/>
                <a:gd name="connsiteX52" fmla="*/ 200818 w 484088"/>
                <a:gd name="connsiteY52" fmla="*/ 9715 h 476290"/>
                <a:gd name="connsiteX53" fmla="*/ 224003 w 484088"/>
                <a:gd name="connsiteY53" fmla="*/ 0 h 47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84088" h="476290">
                  <a:moveTo>
                    <a:pt x="224003" y="410646"/>
                  </a:moveTo>
                  <a:cubicBezTo>
                    <a:pt x="232375" y="410646"/>
                    <a:pt x="240747" y="413798"/>
                    <a:pt x="247187" y="420103"/>
                  </a:cubicBezTo>
                  <a:cubicBezTo>
                    <a:pt x="260067" y="433084"/>
                    <a:pt x="260067" y="453853"/>
                    <a:pt x="247187" y="466833"/>
                  </a:cubicBezTo>
                  <a:cubicBezTo>
                    <a:pt x="234307" y="479443"/>
                    <a:pt x="213699" y="479443"/>
                    <a:pt x="200818" y="466833"/>
                  </a:cubicBezTo>
                  <a:cubicBezTo>
                    <a:pt x="188306" y="454224"/>
                    <a:pt x="188306" y="433455"/>
                    <a:pt x="200818" y="420103"/>
                  </a:cubicBezTo>
                  <a:cubicBezTo>
                    <a:pt x="207259" y="413798"/>
                    <a:pt x="215631" y="410646"/>
                    <a:pt x="224003" y="410646"/>
                  </a:cubicBezTo>
                  <a:close/>
                  <a:moveTo>
                    <a:pt x="121049" y="316301"/>
                  </a:moveTo>
                  <a:cubicBezTo>
                    <a:pt x="127512" y="316301"/>
                    <a:pt x="133929" y="318800"/>
                    <a:pt x="138696" y="323796"/>
                  </a:cubicBezTo>
                  <a:cubicBezTo>
                    <a:pt x="148597" y="333788"/>
                    <a:pt x="148597" y="349333"/>
                    <a:pt x="138696" y="359325"/>
                  </a:cubicBezTo>
                  <a:cubicBezTo>
                    <a:pt x="129162" y="369318"/>
                    <a:pt x="113028" y="369318"/>
                    <a:pt x="103128" y="359325"/>
                  </a:cubicBezTo>
                  <a:cubicBezTo>
                    <a:pt x="93227" y="349333"/>
                    <a:pt x="93227" y="333788"/>
                    <a:pt x="103128" y="323796"/>
                  </a:cubicBezTo>
                  <a:cubicBezTo>
                    <a:pt x="108078" y="318800"/>
                    <a:pt x="114587" y="316301"/>
                    <a:pt x="121049" y="316301"/>
                  </a:cubicBezTo>
                  <a:close/>
                  <a:moveTo>
                    <a:pt x="325449" y="298284"/>
                  </a:moveTo>
                  <a:cubicBezTo>
                    <a:pt x="336448" y="298284"/>
                    <a:pt x="347448" y="302490"/>
                    <a:pt x="356024" y="310902"/>
                  </a:cubicBezTo>
                  <a:cubicBezTo>
                    <a:pt x="372803" y="328099"/>
                    <a:pt x="373175" y="355016"/>
                    <a:pt x="356024" y="372214"/>
                  </a:cubicBezTo>
                  <a:cubicBezTo>
                    <a:pt x="339245" y="389037"/>
                    <a:pt x="312026" y="389037"/>
                    <a:pt x="294874" y="372214"/>
                  </a:cubicBezTo>
                  <a:cubicBezTo>
                    <a:pt x="278468" y="355016"/>
                    <a:pt x="278468" y="328099"/>
                    <a:pt x="294874" y="310902"/>
                  </a:cubicBezTo>
                  <a:cubicBezTo>
                    <a:pt x="303450" y="302490"/>
                    <a:pt x="314449" y="298284"/>
                    <a:pt x="325449" y="298284"/>
                  </a:cubicBezTo>
                  <a:close/>
                  <a:moveTo>
                    <a:pt x="19273" y="218685"/>
                  </a:moveTo>
                  <a:cubicBezTo>
                    <a:pt x="24277" y="218685"/>
                    <a:pt x="29280" y="220543"/>
                    <a:pt x="32986" y="224259"/>
                  </a:cubicBezTo>
                  <a:cubicBezTo>
                    <a:pt x="40399" y="231692"/>
                    <a:pt x="40399" y="243955"/>
                    <a:pt x="32986" y="251759"/>
                  </a:cubicBezTo>
                  <a:cubicBezTo>
                    <a:pt x="25574" y="259192"/>
                    <a:pt x="12972" y="259192"/>
                    <a:pt x="5560" y="251759"/>
                  </a:cubicBezTo>
                  <a:cubicBezTo>
                    <a:pt x="-1853" y="243955"/>
                    <a:pt x="-1853" y="231692"/>
                    <a:pt x="5560" y="224259"/>
                  </a:cubicBezTo>
                  <a:cubicBezTo>
                    <a:pt x="9266" y="220543"/>
                    <a:pt x="14270" y="218685"/>
                    <a:pt x="19273" y="218685"/>
                  </a:cubicBezTo>
                  <a:close/>
                  <a:moveTo>
                    <a:pt x="224003" y="205318"/>
                  </a:moveTo>
                  <a:cubicBezTo>
                    <a:pt x="232375" y="205318"/>
                    <a:pt x="240747" y="208604"/>
                    <a:pt x="247187" y="215174"/>
                  </a:cubicBezTo>
                  <a:cubicBezTo>
                    <a:pt x="260067" y="228315"/>
                    <a:pt x="260067" y="249341"/>
                    <a:pt x="247187" y="262482"/>
                  </a:cubicBezTo>
                  <a:cubicBezTo>
                    <a:pt x="234307" y="275624"/>
                    <a:pt x="213699" y="275624"/>
                    <a:pt x="200818" y="262482"/>
                  </a:cubicBezTo>
                  <a:cubicBezTo>
                    <a:pt x="188306" y="249341"/>
                    <a:pt x="188306" y="228315"/>
                    <a:pt x="200818" y="215174"/>
                  </a:cubicBezTo>
                  <a:cubicBezTo>
                    <a:pt x="207259" y="208604"/>
                    <a:pt x="215631" y="205318"/>
                    <a:pt x="224003" y="205318"/>
                  </a:cubicBezTo>
                  <a:close/>
                  <a:moveTo>
                    <a:pt x="428279" y="182871"/>
                  </a:moveTo>
                  <a:cubicBezTo>
                    <a:pt x="442487" y="182871"/>
                    <a:pt x="456694" y="188365"/>
                    <a:pt x="467652" y="199351"/>
                  </a:cubicBezTo>
                  <a:cubicBezTo>
                    <a:pt x="489567" y="221325"/>
                    <a:pt x="489567" y="256334"/>
                    <a:pt x="467652" y="278307"/>
                  </a:cubicBezTo>
                  <a:cubicBezTo>
                    <a:pt x="445737" y="300281"/>
                    <a:pt x="410821" y="300281"/>
                    <a:pt x="388906" y="278307"/>
                  </a:cubicBezTo>
                  <a:cubicBezTo>
                    <a:pt x="366991" y="256706"/>
                    <a:pt x="366991" y="221325"/>
                    <a:pt x="388906" y="199351"/>
                  </a:cubicBezTo>
                  <a:cubicBezTo>
                    <a:pt x="399864" y="188365"/>
                    <a:pt x="414071" y="182871"/>
                    <a:pt x="428279" y="182871"/>
                  </a:cubicBezTo>
                  <a:close/>
                  <a:moveTo>
                    <a:pt x="121049" y="110842"/>
                  </a:moveTo>
                  <a:cubicBezTo>
                    <a:pt x="127512" y="110842"/>
                    <a:pt x="133929" y="113340"/>
                    <a:pt x="138696" y="118337"/>
                  </a:cubicBezTo>
                  <a:cubicBezTo>
                    <a:pt x="148597" y="128329"/>
                    <a:pt x="148597" y="144244"/>
                    <a:pt x="138696" y="154236"/>
                  </a:cubicBezTo>
                  <a:cubicBezTo>
                    <a:pt x="129162" y="163859"/>
                    <a:pt x="113028" y="163859"/>
                    <a:pt x="103128" y="154236"/>
                  </a:cubicBezTo>
                  <a:cubicBezTo>
                    <a:pt x="93227" y="144244"/>
                    <a:pt x="93227" y="128329"/>
                    <a:pt x="103128" y="118337"/>
                  </a:cubicBezTo>
                  <a:cubicBezTo>
                    <a:pt x="108078" y="113340"/>
                    <a:pt x="114587" y="110842"/>
                    <a:pt x="121049" y="110842"/>
                  </a:cubicBezTo>
                  <a:close/>
                  <a:moveTo>
                    <a:pt x="325683" y="92919"/>
                  </a:moveTo>
                  <a:cubicBezTo>
                    <a:pt x="336593" y="92919"/>
                    <a:pt x="347550" y="97219"/>
                    <a:pt x="356092" y="105817"/>
                  </a:cubicBezTo>
                  <a:cubicBezTo>
                    <a:pt x="373177" y="122641"/>
                    <a:pt x="373177" y="149558"/>
                    <a:pt x="356092" y="166756"/>
                  </a:cubicBezTo>
                  <a:cubicBezTo>
                    <a:pt x="339007" y="183579"/>
                    <a:pt x="312638" y="183579"/>
                    <a:pt x="295553" y="166756"/>
                  </a:cubicBezTo>
                  <a:cubicBezTo>
                    <a:pt x="278840" y="149558"/>
                    <a:pt x="278468" y="122641"/>
                    <a:pt x="295553" y="105817"/>
                  </a:cubicBezTo>
                  <a:cubicBezTo>
                    <a:pt x="303910" y="97219"/>
                    <a:pt x="314773" y="92919"/>
                    <a:pt x="325683" y="92919"/>
                  </a:cubicBezTo>
                  <a:close/>
                  <a:moveTo>
                    <a:pt x="224003" y="0"/>
                  </a:moveTo>
                  <a:cubicBezTo>
                    <a:pt x="232375" y="-47"/>
                    <a:pt x="240747" y="3144"/>
                    <a:pt x="247187" y="9715"/>
                  </a:cubicBezTo>
                  <a:cubicBezTo>
                    <a:pt x="260067" y="22480"/>
                    <a:pt x="260067" y="44257"/>
                    <a:pt x="247187" y="57022"/>
                  </a:cubicBezTo>
                  <a:cubicBezTo>
                    <a:pt x="234307" y="70163"/>
                    <a:pt x="213699" y="69788"/>
                    <a:pt x="200818" y="57022"/>
                  </a:cubicBezTo>
                  <a:cubicBezTo>
                    <a:pt x="188306" y="43881"/>
                    <a:pt x="188306" y="22856"/>
                    <a:pt x="200818" y="9715"/>
                  </a:cubicBezTo>
                  <a:cubicBezTo>
                    <a:pt x="207259" y="3332"/>
                    <a:pt x="215631" y="47"/>
                    <a:pt x="224003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defTabSz="1081604">
                <a:defRPr/>
              </a:pPr>
              <a:r>
                <a:rPr lang="en-US" sz="2095" kern="0" dirty="0">
                  <a:solidFill>
                    <a:sysClr val="windowText" lastClr="000000"/>
                  </a:solidFill>
                </a:rPr>
                <a:t> </a:t>
              </a:r>
            </a:p>
          </p:txBody>
        </p:sp>
        <p:sp>
          <p:nvSpPr>
            <p:cNvPr id="15" name="Freihandform 36"/>
            <p:cNvSpPr>
              <a:spLocks noChangeAspect="1" noChangeArrowheads="1"/>
            </p:cNvSpPr>
            <p:nvPr/>
          </p:nvSpPr>
          <p:spPr bwMode="auto">
            <a:xfrm>
              <a:off x="7307072" y="2453653"/>
              <a:ext cx="1597948" cy="254396"/>
            </a:xfrm>
            <a:custGeom>
              <a:avLst/>
              <a:gdLst>
                <a:gd name="connsiteX0" fmla="*/ 1157347 w 1597949"/>
                <a:gd name="connsiteY0" fmla="*/ 4931 h 254396"/>
                <a:gd name="connsiteX1" fmla="*/ 1235941 w 1597949"/>
                <a:gd name="connsiteY1" fmla="*/ 4931 h 254396"/>
                <a:gd name="connsiteX2" fmla="*/ 1319354 w 1597949"/>
                <a:gd name="connsiteY2" fmla="*/ 168700 h 254396"/>
                <a:gd name="connsiteX3" fmla="*/ 1319354 w 1597949"/>
                <a:gd name="connsiteY3" fmla="*/ 4931 h 254396"/>
                <a:gd name="connsiteX4" fmla="*/ 1366807 w 1597949"/>
                <a:gd name="connsiteY4" fmla="*/ 4931 h 254396"/>
                <a:gd name="connsiteX5" fmla="*/ 1366807 w 1597949"/>
                <a:gd name="connsiteY5" fmla="*/ 249463 h 254396"/>
                <a:gd name="connsiteX6" fmla="*/ 1291179 w 1597949"/>
                <a:gd name="connsiteY6" fmla="*/ 249463 h 254396"/>
                <a:gd name="connsiteX7" fmla="*/ 1205170 w 1597949"/>
                <a:gd name="connsiteY7" fmla="*/ 83451 h 254396"/>
                <a:gd name="connsiteX8" fmla="*/ 1205170 w 1597949"/>
                <a:gd name="connsiteY8" fmla="*/ 249463 h 254396"/>
                <a:gd name="connsiteX9" fmla="*/ 1157347 w 1597949"/>
                <a:gd name="connsiteY9" fmla="*/ 249463 h 254396"/>
                <a:gd name="connsiteX10" fmla="*/ 936042 w 1597949"/>
                <a:gd name="connsiteY10" fmla="*/ 4931 h 254396"/>
                <a:gd name="connsiteX11" fmla="*/ 1110117 w 1597949"/>
                <a:gd name="connsiteY11" fmla="*/ 4931 h 254396"/>
                <a:gd name="connsiteX12" fmla="*/ 1110117 w 1597949"/>
                <a:gd name="connsiteY12" fmla="*/ 49052 h 254396"/>
                <a:gd name="connsiteX13" fmla="*/ 1001367 w 1597949"/>
                <a:gd name="connsiteY13" fmla="*/ 49052 h 254396"/>
                <a:gd name="connsiteX14" fmla="*/ 1001367 w 1597949"/>
                <a:gd name="connsiteY14" fmla="*/ 104015 h 254396"/>
                <a:gd name="connsiteX15" fmla="*/ 1096013 w 1597949"/>
                <a:gd name="connsiteY15" fmla="*/ 104015 h 254396"/>
                <a:gd name="connsiteX16" fmla="*/ 1096013 w 1597949"/>
                <a:gd name="connsiteY16" fmla="*/ 144771 h 254396"/>
                <a:gd name="connsiteX17" fmla="*/ 1001367 w 1597949"/>
                <a:gd name="connsiteY17" fmla="*/ 144771 h 254396"/>
                <a:gd name="connsiteX18" fmla="*/ 1001367 w 1597949"/>
                <a:gd name="connsiteY18" fmla="*/ 202725 h 254396"/>
                <a:gd name="connsiteX19" fmla="*/ 1112716 w 1597949"/>
                <a:gd name="connsiteY19" fmla="*/ 202725 h 254396"/>
                <a:gd name="connsiteX20" fmla="*/ 1112716 w 1597949"/>
                <a:gd name="connsiteY20" fmla="*/ 249463 h 254396"/>
                <a:gd name="connsiteX21" fmla="*/ 936042 w 1597949"/>
                <a:gd name="connsiteY21" fmla="*/ 249463 h 254396"/>
                <a:gd name="connsiteX22" fmla="*/ 577034 w 1597949"/>
                <a:gd name="connsiteY22" fmla="*/ 4931 h 254396"/>
                <a:gd name="connsiteX23" fmla="*/ 665266 w 1597949"/>
                <a:gd name="connsiteY23" fmla="*/ 4931 h 254396"/>
                <a:gd name="connsiteX24" fmla="*/ 725949 w 1597949"/>
                <a:gd name="connsiteY24" fmla="*/ 160843 h 254396"/>
                <a:gd name="connsiteX25" fmla="*/ 789611 w 1597949"/>
                <a:gd name="connsiteY25" fmla="*/ 4931 h 254396"/>
                <a:gd name="connsiteX26" fmla="*/ 873375 w 1597949"/>
                <a:gd name="connsiteY26" fmla="*/ 4931 h 254396"/>
                <a:gd name="connsiteX27" fmla="*/ 873375 w 1597949"/>
                <a:gd name="connsiteY27" fmla="*/ 248870 h 254396"/>
                <a:gd name="connsiteX28" fmla="*/ 808225 w 1597949"/>
                <a:gd name="connsiteY28" fmla="*/ 248870 h 254396"/>
                <a:gd name="connsiteX29" fmla="*/ 808225 w 1597949"/>
                <a:gd name="connsiteY29" fmla="*/ 75800 h 254396"/>
                <a:gd name="connsiteX30" fmla="*/ 737118 w 1597949"/>
                <a:gd name="connsiteY30" fmla="*/ 251108 h 254396"/>
                <a:gd name="connsiteX31" fmla="*/ 694677 w 1597949"/>
                <a:gd name="connsiteY31" fmla="*/ 251108 h 254396"/>
                <a:gd name="connsiteX32" fmla="*/ 625059 w 1597949"/>
                <a:gd name="connsiteY32" fmla="*/ 75800 h 254396"/>
                <a:gd name="connsiteX33" fmla="*/ 625059 w 1597949"/>
                <a:gd name="connsiteY33" fmla="*/ 248870 h 254396"/>
                <a:gd name="connsiteX34" fmla="*/ 577034 w 1597949"/>
                <a:gd name="connsiteY34" fmla="*/ 248870 h 254396"/>
                <a:gd name="connsiteX35" fmla="*/ 355729 w 1597949"/>
                <a:gd name="connsiteY35" fmla="*/ 4931 h 254396"/>
                <a:gd name="connsiteX36" fmla="*/ 530170 w 1597949"/>
                <a:gd name="connsiteY36" fmla="*/ 4931 h 254396"/>
                <a:gd name="connsiteX37" fmla="*/ 530170 w 1597949"/>
                <a:gd name="connsiteY37" fmla="*/ 49052 h 254396"/>
                <a:gd name="connsiteX38" fmla="*/ 420819 w 1597949"/>
                <a:gd name="connsiteY38" fmla="*/ 49052 h 254396"/>
                <a:gd name="connsiteX39" fmla="*/ 420819 w 1597949"/>
                <a:gd name="connsiteY39" fmla="*/ 104015 h 254396"/>
                <a:gd name="connsiteX40" fmla="*/ 516036 w 1597949"/>
                <a:gd name="connsiteY40" fmla="*/ 104015 h 254396"/>
                <a:gd name="connsiteX41" fmla="*/ 516036 w 1597949"/>
                <a:gd name="connsiteY41" fmla="*/ 144771 h 254396"/>
                <a:gd name="connsiteX42" fmla="*/ 420819 w 1597949"/>
                <a:gd name="connsiteY42" fmla="*/ 144771 h 254396"/>
                <a:gd name="connsiteX43" fmla="*/ 420819 w 1597949"/>
                <a:gd name="connsiteY43" fmla="*/ 202725 h 254396"/>
                <a:gd name="connsiteX44" fmla="*/ 532402 w 1597949"/>
                <a:gd name="connsiteY44" fmla="*/ 202725 h 254396"/>
                <a:gd name="connsiteX45" fmla="*/ 532402 w 1597949"/>
                <a:gd name="connsiteY45" fmla="*/ 249463 h 254396"/>
                <a:gd name="connsiteX46" fmla="*/ 355729 w 1597949"/>
                <a:gd name="connsiteY46" fmla="*/ 249463 h 254396"/>
                <a:gd name="connsiteX47" fmla="*/ 226224 w 1597949"/>
                <a:gd name="connsiteY47" fmla="*/ 4931 h 254396"/>
                <a:gd name="connsiteX48" fmla="*/ 293068 w 1597949"/>
                <a:gd name="connsiteY48" fmla="*/ 4931 h 254396"/>
                <a:gd name="connsiteX49" fmla="*/ 293068 w 1597949"/>
                <a:gd name="connsiteY49" fmla="*/ 249464 h 254396"/>
                <a:gd name="connsiteX50" fmla="*/ 259646 w 1597949"/>
                <a:gd name="connsiteY50" fmla="*/ 249464 h 254396"/>
                <a:gd name="connsiteX51" fmla="*/ 226224 w 1597949"/>
                <a:gd name="connsiteY51" fmla="*/ 249464 h 254396"/>
                <a:gd name="connsiteX52" fmla="*/ 1509330 w 1597949"/>
                <a:gd name="connsiteY52" fmla="*/ 0 h 254396"/>
                <a:gd name="connsiteX53" fmla="*/ 1573106 w 1597949"/>
                <a:gd name="connsiteY53" fmla="*/ 7806 h 254396"/>
                <a:gd name="connsiteX54" fmla="*/ 1579039 w 1597949"/>
                <a:gd name="connsiteY54" fmla="*/ 8921 h 254396"/>
                <a:gd name="connsiteX55" fmla="*/ 1579039 w 1597949"/>
                <a:gd name="connsiteY55" fmla="*/ 55011 h 254396"/>
                <a:gd name="connsiteX56" fmla="*/ 1516004 w 1597949"/>
                <a:gd name="connsiteY56" fmla="*/ 41630 h 254396"/>
                <a:gd name="connsiteX57" fmla="*/ 1475217 w 1597949"/>
                <a:gd name="connsiteY57" fmla="*/ 63932 h 254396"/>
                <a:gd name="connsiteX58" fmla="*/ 1483745 w 1597949"/>
                <a:gd name="connsiteY58" fmla="*/ 78056 h 254396"/>
                <a:gd name="connsiteX59" fmla="*/ 1521195 w 1597949"/>
                <a:gd name="connsiteY59" fmla="*/ 96641 h 254396"/>
                <a:gd name="connsiteX60" fmla="*/ 1580522 w 1597949"/>
                <a:gd name="connsiteY60" fmla="*/ 130837 h 254396"/>
                <a:gd name="connsiteX61" fmla="*/ 1597949 w 1597949"/>
                <a:gd name="connsiteY61" fmla="*/ 175812 h 254396"/>
                <a:gd name="connsiteX62" fmla="*/ 1563466 w 1597949"/>
                <a:gd name="connsiteY62" fmla="*/ 236027 h 254396"/>
                <a:gd name="connsiteX63" fmla="*/ 1491532 w 1597949"/>
                <a:gd name="connsiteY63" fmla="*/ 252753 h 254396"/>
                <a:gd name="connsiteX64" fmla="*/ 1415890 w 1597949"/>
                <a:gd name="connsiteY64" fmla="*/ 243833 h 254396"/>
                <a:gd name="connsiteX65" fmla="*/ 1415890 w 1597949"/>
                <a:gd name="connsiteY65" fmla="*/ 195884 h 254396"/>
                <a:gd name="connsiteX66" fmla="*/ 1488565 w 1597949"/>
                <a:gd name="connsiteY66" fmla="*/ 208893 h 254396"/>
                <a:gd name="connsiteX67" fmla="*/ 1532319 w 1597949"/>
                <a:gd name="connsiteY67" fmla="*/ 186220 h 254396"/>
                <a:gd name="connsiteX68" fmla="*/ 1526386 w 1597949"/>
                <a:gd name="connsiteY68" fmla="*/ 171724 h 254396"/>
                <a:gd name="connsiteX69" fmla="*/ 1493015 w 1597949"/>
                <a:gd name="connsiteY69" fmla="*/ 154254 h 254396"/>
                <a:gd name="connsiteX70" fmla="*/ 1430351 w 1597949"/>
                <a:gd name="connsiteY70" fmla="*/ 120430 h 254396"/>
                <a:gd name="connsiteX71" fmla="*/ 1411440 w 1597949"/>
                <a:gd name="connsiteY71" fmla="*/ 73596 h 254396"/>
                <a:gd name="connsiteX72" fmla="*/ 1438879 w 1597949"/>
                <a:gd name="connsiteY72" fmla="*/ 18957 h 254396"/>
                <a:gd name="connsiteX73" fmla="*/ 1509330 w 1597949"/>
                <a:gd name="connsiteY73" fmla="*/ 0 h 254396"/>
                <a:gd name="connsiteX74" fmla="*/ 97518 w 1597949"/>
                <a:gd name="connsiteY74" fmla="*/ 0 h 254396"/>
                <a:gd name="connsiteX75" fmla="*/ 166857 w 1597949"/>
                <a:gd name="connsiteY75" fmla="*/ 8966 h 254396"/>
                <a:gd name="connsiteX76" fmla="*/ 166857 w 1597949"/>
                <a:gd name="connsiteY76" fmla="*/ 55661 h 254396"/>
                <a:gd name="connsiteX77" fmla="*/ 104564 w 1597949"/>
                <a:gd name="connsiteY77" fmla="*/ 42213 h 254396"/>
                <a:gd name="connsiteX78" fmla="*/ 64147 w 1597949"/>
                <a:gd name="connsiteY78" fmla="*/ 64626 h 254396"/>
                <a:gd name="connsiteX79" fmla="*/ 72675 w 1597949"/>
                <a:gd name="connsiteY79" fmla="*/ 78448 h 254396"/>
                <a:gd name="connsiteX80" fmla="*/ 109755 w 1597949"/>
                <a:gd name="connsiteY80" fmla="*/ 97126 h 254396"/>
                <a:gd name="connsiteX81" fmla="*/ 169082 w 1597949"/>
                <a:gd name="connsiteY81" fmla="*/ 131494 h 254396"/>
                <a:gd name="connsiteX82" fmla="*/ 186509 w 1597949"/>
                <a:gd name="connsiteY82" fmla="*/ 176695 h 254396"/>
                <a:gd name="connsiteX83" fmla="*/ 152025 w 1597949"/>
                <a:gd name="connsiteY83" fmla="*/ 237212 h 254396"/>
                <a:gd name="connsiteX84" fmla="*/ 80462 w 1597949"/>
                <a:gd name="connsiteY84" fmla="*/ 254396 h 254396"/>
                <a:gd name="connsiteX85" fmla="*/ 4820 w 1597949"/>
                <a:gd name="connsiteY85" fmla="*/ 244683 h 254396"/>
                <a:gd name="connsiteX86" fmla="*/ 4820 w 1597949"/>
                <a:gd name="connsiteY86" fmla="*/ 196494 h 254396"/>
                <a:gd name="connsiteX87" fmla="*/ 77496 w 1597949"/>
                <a:gd name="connsiteY87" fmla="*/ 209568 h 254396"/>
                <a:gd name="connsiteX88" fmla="*/ 120878 w 1597949"/>
                <a:gd name="connsiteY88" fmla="*/ 186781 h 254396"/>
                <a:gd name="connsiteX89" fmla="*/ 114204 w 1597949"/>
                <a:gd name="connsiteY89" fmla="*/ 172212 h 254396"/>
                <a:gd name="connsiteX90" fmla="*/ 81574 w 1597949"/>
                <a:gd name="connsiteY90" fmla="*/ 154655 h 254396"/>
                <a:gd name="connsiteX91" fmla="*/ 18910 w 1597949"/>
                <a:gd name="connsiteY91" fmla="*/ 120661 h 254396"/>
                <a:gd name="connsiteX92" fmla="*/ 0 w 1597949"/>
                <a:gd name="connsiteY92" fmla="*/ 73965 h 254396"/>
                <a:gd name="connsiteX93" fmla="*/ 27438 w 1597949"/>
                <a:gd name="connsiteY93" fmla="*/ 19052 h 254396"/>
                <a:gd name="connsiteX94" fmla="*/ 97518 w 1597949"/>
                <a:gd name="connsiteY94" fmla="*/ 0 h 25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1597949" h="254396">
                  <a:moveTo>
                    <a:pt x="1157347" y="4931"/>
                  </a:moveTo>
                  <a:lnTo>
                    <a:pt x="1235941" y="4931"/>
                  </a:lnTo>
                  <a:lnTo>
                    <a:pt x="1319354" y="168700"/>
                  </a:lnTo>
                  <a:lnTo>
                    <a:pt x="1319354" y="4931"/>
                  </a:lnTo>
                  <a:lnTo>
                    <a:pt x="1366807" y="4931"/>
                  </a:lnTo>
                  <a:lnTo>
                    <a:pt x="1366807" y="249463"/>
                  </a:lnTo>
                  <a:lnTo>
                    <a:pt x="1291179" y="249463"/>
                  </a:lnTo>
                  <a:lnTo>
                    <a:pt x="1205170" y="83451"/>
                  </a:lnTo>
                  <a:lnTo>
                    <a:pt x="1205170" y="249463"/>
                  </a:lnTo>
                  <a:lnTo>
                    <a:pt x="1157347" y="249463"/>
                  </a:lnTo>
                  <a:close/>
                  <a:moveTo>
                    <a:pt x="936042" y="4931"/>
                  </a:moveTo>
                  <a:lnTo>
                    <a:pt x="1110117" y="4931"/>
                  </a:lnTo>
                  <a:lnTo>
                    <a:pt x="1110117" y="49052"/>
                  </a:lnTo>
                  <a:lnTo>
                    <a:pt x="1001367" y="49052"/>
                  </a:lnTo>
                  <a:lnTo>
                    <a:pt x="1001367" y="104015"/>
                  </a:lnTo>
                  <a:lnTo>
                    <a:pt x="1096013" y="104015"/>
                  </a:lnTo>
                  <a:lnTo>
                    <a:pt x="1096013" y="144771"/>
                  </a:lnTo>
                  <a:lnTo>
                    <a:pt x="1001367" y="144771"/>
                  </a:lnTo>
                  <a:lnTo>
                    <a:pt x="1001367" y="202725"/>
                  </a:lnTo>
                  <a:lnTo>
                    <a:pt x="1112716" y="202725"/>
                  </a:lnTo>
                  <a:lnTo>
                    <a:pt x="1112716" y="249463"/>
                  </a:lnTo>
                  <a:lnTo>
                    <a:pt x="936042" y="249463"/>
                  </a:lnTo>
                  <a:close/>
                  <a:moveTo>
                    <a:pt x="577034" y="4931"/>
                  </a:moveTo>
                  <a:lnTo>
                    <a:pt x="665266" y="4931"/>
                  </a:lnTo>
                  <a:lnTo>
                    <a:pt x="725949" y="160843"/>
                  </a:lnTo>
                  <a:lnTo>
                    <a:pt x="789611" y="4931"/>
                  </a:lnTo>
                  <a:lnTo>
                    <a:pt x="873375" y="4931"/>
                  </a:lnTo>
                  <a:lnTo>
                    <a:pt x="873375" y="248870"/>
                  </a:lnTo>
                  <a:lnTo>
                    <a:pt x="808225" y="248870"/>
                  </a:lnTo>
                  <a:lnTo>
                    <a:pt x="808225" y="75800"/>
                  </a:lnTo>
                  <a:lnTo>
                    <a:pt x="737118" y="251108"/>
                  </a:lnTo>
                  <a:lnTo>
                    <a:pt x="694677" y="251108"/>
                  </a:lnTo>
                  <a:lnTo>
                    <a:pt x="625059" y="75800"/>
                  </a:lnTo>
                  <a:lnTo>
                    <a:pt x="625059" y="248870"/>
                  </a:lnTo>
                  <a:lnTo>
                    <a:pt x="577034" y="248870"/>
                  </a:lnTo>
                  <a:close/>
                  <a:moveTo>
                    <a:pt x="355729" y="4931"/>
                  </a:moveTo>
                  <a:lnTo>
                    <a:pt x="530170" y="4931"/>
                  </a:lnTo>
                  <a:lnTo>
                    <a:pt x="530170" y="49052"/>
                  </a:lnTo>
                  <a:lnTo>
                    <a:pt x="420819" y="49052"/>
                  </a:lnTo>
                  <a:lnTo>
                    <a:pt x="420819" y="104015"/>
                  </a:lnTo>
                  <a:lnTo>
                    <a:pt x="516036" y="104015"/>
                  </a:lnTo>
                  <a:lnTo>
                    <a:pt x="516036" y="144771"/>
                  </a:lnTo>
                  <a:lnTo>
                    <a:pt x="420819" y="144771"/>
                  </a:lnTo>
                  <a:lnTo>
                    <a:pt x="420819" y="202725"/>
                  </a:lnTo>
                  <a:lnTo>
                    <a:pt x="532402" y="202725"/>
                  </a:lnTo>
                  <a:lnTo>
                    <a:pt x="532402" y="249463"/>
                  </a:lnTo>
                  <a:lnTo>
                    <a:pt x="355729" y="249463"/>
                  </a:lnTo>
                  <a:close/>
                  <a:moveTo>
                    <a:pt x="226224" y="4931"/>
                  </a:moveTo>
                  <a:lnTo>
                    <a:pt x="293068" y="4931"/>
                  </a:lnTo>
                  <a:lnTo>
                    <a:pt x="293068" y="249464"/>
                  </a:lnTo>
                  <a:lnTo>
                    <a:pt x="259646" y="249464"/>
                  </a:lnTo>
                  <a:lnTo>
                    <a:pt x="226224" y="249464"/>
                  </a:lnTo>
                  <a:close/>
                  <a:moveTo>
                    <a:pt x="1509330" y="0"/>
                  </a:moveTo>
                  <a:cubicBezTo>
                    <a:pt x="1525645" y="0"/>
                    <a:pt x="1546780" y="2230"/>
                    <a:pt x="1573106" y="7806"/>
                  </a:cubicBezTo>
                  <a:lnTo>
                    <a:pt x="1579039" y="8921"/>
                  </a:lnTo>
                  <a:lnTo>
                    <a:pt x="1579039" y="55011"/>
                  </a:lnTo>
                  <a:cubicBezTo>
                    <a:pt x="1556421" y="46090"/>
                    <a:pt x="1535285" y="41630"/>
                    <a:pt x="1516004" y="41630"/>
                  </a:cubicBezTo>
                  <a:cubicBezTo>
                    <a:pt x="1488565" y="41630"/>
                    <a:pt x="1475217" y="49064"/>
                    <a:pt x="1475217" y="63932"/>
                  </a:cubicBezTo>
                  <a:cubicBezTo>
                    <a:pt x="1475217" y="69507"/>
                    <a:pt x="1477812" y="73968"/>
                    <a:pt x="1483745" y="78056"/>
                  </a:cubicBezTo>
                  <a:cubicBezTo>
                    <a:pt x="1488195" y="81030"/>
                    <a:pt x="1500431" y="86977"/>
                    <a:pt x="1521195" y="96641"/>
                  </a:cubicBezTo>
                  <a:cubicBezTo>
                    <a:pt x="1550488" y="109279"/>
                    <a:pt x="1570511" y="120801"/>
                    <a:pt x="1580522" y="130837"/>
                  </a:cubicBezTo>
                  <a:cubicBezTo>
                    <a:pt x="1592017" y="142360"/>
                    <a:pt x="1597949" y="157228"/>
                    <a:pt x="1597949" y="175812"/>
                  </a:cubicBezTo>
                  <a:cubicBezTo>
                    <a:pt x="1597949" y="202203"/>
                    <a:pt x="1586455" y="221903"/>
                    <a:pt x="1563466" y="236027"/>
                  </a:cubicBezTo>
                  <a:cubicBezTo>
                    <a:pt x="1544555" y="247178"/>
                    <a:pt x="1520824" y="252753"/>
                    <a:pt x="1491532" y="252753"/>
                  </a:cubicBezTo>
                  <a:cubicBezTo>
                    <a:pt x="1466689" y="252753"/>
                    <a:pt x="1441475" y="249780"/>
                    <a:pt x="1415890" y="243833"/>
                  </a:cubicBezTo>
                  <a:lnTo>
                    <a:pt x="1415890" y="195884"/>
                  </a:lnTo>
                  <a:cubicBezTo>
                    <a:pt x="1442958" y="204433"/>
                    <a:pt x="1467059" y="208893"/>
                    <a:pt x="1488565" y="208893"/>
                  </a:cubicBezTo>
                  <a:cubicBezTo>
                    <a:pt x="1517487" y="208893"/>
                    <a:pt x="1532319" y="201459"/>
                    <a:pt x="1532319" y="186220"/>
                  </a:cubicBezTo>
                  <a:cubicBezTo>
                    <a:pt x="1532319" y="180273"/>
                    <a:pt x="1530465" y="175812"/>
                    <a:pt x="1526386" y="171724"/>
                  </a:cubicBezTo>
                  <a:cubicBezTo>
                    <a:pt x="1521937" y="167635"/>
                    <a:pt x="1510813" y="161688"/>
                    <a:pt x="1493015" y="154254"/>
                  </a:cubicBezTo>
                  <a:cubicBezTo>
                    <a:pt x="1461127" y="141245"/>
                    <a:pt x="1440362" y="129722"/>
                    <a:pt x="1430351" y="120430"/>
                  </a:cubicBezTo>
                  <a:cubicBezTo>
                    <a:pt x="1418115" y="108535"/>
                    <a:pt x="1411440" y="92552"/>
                    <a:pt x="1411440" y="73596"/>
                  </a:cubicBezTo>
                  <a:cubicBezTo>
                    <a:pt x="1411440" y="49807"/>
                    <a:pt x="1420339" y="31223"/>
                    <a:pt x="1438879" y="18957"/>
                  </a:cubicBezTo>
                  <a:cubicBezTo>
                    <a:pt x="1456677" y="6319"/>
                    <a:pt x="1480779" y="0"/>
                    <a:pt x="1509330" y="0"/>
                  </a:cubicBezTo>
                  <a:close/>
                  <a:moveTo>
                    <a:pt x="97518" y="0"/>
                  </a:moveTo>
                  <a:cubicBezTo>
                    <a:pt x="113463" y="0"/>
                    <a:pt x="136823" y="2989"/>
                    <a:pt x="166857" y="8966"/>
                  </a:cubicBezTo>
                  <a:lnTo>
                    <a:pt x="166857" y="55661"/>
                  </a:lnTo>
                  <a:cubicBezTo>
                    <a:pt x="144609" y="46695"/>
                    <a:pt x="123845" y="42213"/>
                    <a:pt x="104564" y="42213"/>
                  </a:cubicBezTo>
                  <a:cubicBezTo>
                    <a:pt x="77496" y="42213"/>
                    <a:pt x="64147" y="49684"/>
                    <a:pt x="64147" y="64626"/>
                  </a:cubicBezTo>
                  <a:cubicBezTo>
                    <a:pt x="64147" y="70230"/>
                    <a:pt x="67113" y="74712"/>
                    <a:pt x="72675" y="78448"/>
                  </a:cubicBezTo>
                  <a:cubicBezTo>
                    <a:pt x="77125" y="81437"/>
                    <a:pt x="89732" y="87414"/>
                    <a:pt x="109755" y="97126"/>
                  </a:cubicBezTo>
                  <a:cubicBezTo>
                    <a:pt x="139789" y="110201"/>
                    <a:pt x="159441" y="121408"/>
                    <a:pt x="169082" y="131494"/>
                  </a:cubicBezTo>
                  <a:cubicBezTo>
                    <a:pt x="180947" y="142701"/>
                    <a:pt x="186509" y="158017"/>
                    <a:pt x="186509" y="176695"/>
                  </a:cubicBezTo>
                  <a:cubicBezTo>
                    <a:pt x="186509" y="203218"/>
                    <a:pt x="175014" y="223016"/>
                    <a:pt x="152025" y="237212"/>
                  </a:cubicBezTo>
                  <a:cubicBezTo>
                    <a:pt x="133856" y="248792"/>
                    <a:pt x="109384" y="254396"/>
                    <a:pt x="80462" y="254396"/>
                  </a:cubicBezTo>
                  <a:cubicBezTo>
                    <a:pt x="55619" y="253648"/>
                    <a:pt x="30405" y="250660"/>
                    <a:pt x="4820" y="244683"/>
                  </a:cubicBezTo>
                  <a:lnTo>
                    <a:pt x="4820" y="196494"/>
                  </a:lnTo>
                  <a:cubicBezTo>
                    <a:pt x="32259" y="205085"/>
                    <a:pt x="56731" y="209568"/>
                    <a:pt x="77496" y="209568"/>
                  </a:cubicBezTo>
                  <a:cubicBezTo>
                    <a:pt x="106047" y="209568"/>
                    <a:pt x="120878" y="202097"/>
                    <a:pt x="120878" y="186781"/>
                  </a:cubicBezTo>
                  <a:cubicBezTo>
                    <a:pt x="120878" y="180804"/>
                    <a:pt x="119025" y="176321"/>
                    <a:pt x="114204" y="172212"/>
                  </a:cubicBezTo>
                  <a:cubicBezTo>
                    <a:pt x="109755" y="168103"/>
                    <a:pt x="99002" y="162126"/>
                    <a:pt x="81574" y="154655"/>
                  </a:cubicBezTo>
                  <a:cubicBezTo>
                    <a:pt x="49686" y="141580"/>
                    <a:pt x="28922" y="130000"/>
                    <a:pt x="18910" y="120661"/>
                  </a:cubicBezTo>
                  <a:cubicBezTo>
                    <a:pt x="6303" y="107959"/>
                    <a:pt x="0" y="92643"/>
                    <a:pt x="0" y="73965"/>
                  </a:cubicBezTo>
                  <a:cubicBezTo>
                    <a:pt x="0" y="50057"/>
                    <a:pt x="8899" y="31379"/>
                    <a:pt x="27438" y="19052"/>
                  </a:cubicBezTo>
                  <a:cubicBezTo>
                    <a:pt x="45237" y="6351"/>
                    <a:pt x="68967" y="0"/>
                    <a:pt x="97518" y="0"/>
                  </a:cubicBezTo>
                  <a:close/>
                </a:path>
              </a:pathLst>
            </a:custGeom>
            <a:solidFill>
              <a:srgbClr val="009999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defTabSz="1081604">
                <a:defRPr/>
              </a:pPr>
              <a:endParaRPr lang="en-US" sz="2095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Freihandform 38"/>
            <p:cNvSpPr>
              <a:spLocks noChangeAspect="1" noChangeArrowheads="1"/>
            </p:cNvSpPr>
            <p:nvPr/>
          </p:nvSpPr>
          <p:spPr bwMode="auto">
            <a:xfrm>
              <a:off x="6613648" y="2798826"/>
              <a:ext cx="2292197" cy="316855"/>
            </a:xfrm>
            <a:custGeom>
              <a:avLst/>
              <a:gdLst>
                <a:gd name="connsiteX0" fmla="*/ 561040 w 2292197"/>
                <a:gd name="connsiteY0" fmla="*/ 133276 h 316856"/>
                <a:gd name="connsiteX1" fmla="*/ 514756 w 2292197"/>
                <a:gd name="connsiteY1" fmla="*/ 208959 h 316856"/>
                <a:gd name="connsiteX2" fmla="*/ 553264 w 2292197"/>
                <a:gd name="connsiteY2" fmla="*/ 272711 h 316856"/>
                <a:gd name="connsiteX3" fmla="*/ 587329 w 2292197"/>
                <a:gd name="connsiteY3" fmla="*/ 241394 h 316856"/>
                <a:gd name="connsiteX4" fmla="*/ 587329 w 2292197"/>
                <a:gd name="connsiteY4" fmla="*/ 137750 h 316856"/>
                <a:gd name="connsiteX5" fmla="*/ 561040 w 2292197"/>
                <a:gd name="connsiteY5" fmla="*/ 133276 h 316856"/>
                <a:gd name="connsiteX6" fmla="*/ 1864005 w 2292197"/>
                <a:gd name="connsiteY6" fmla="*/ 131508 h 316856"/>
                <a:gd name="connsiteX7" fmla="*/ 1819277 w 2292197"/>
                <a:gd name="connsiteY7" fmla="*/ 188681 h 316856"/>
                <a:gd name="connsiteX8" fmla="*/ 1885623 w 2292197"/>
                <a:gd name="connsiteY8" fmla="*/ 152434 h 316856"/>
                <a:gd name="connsiteX9" fmla="*/ 1864005 w 2292197"/>
                <a:gd name="connsiteY9" fmla="*/ 131508 h 316856"/>
                <a:gd name="connsiteX10" fmla="*/ 1660732 w 2292197"/>
                <a:gd name="connsiteY10" fmla="*/ 131508 h 316856"/>
                <a:gd name="connsiteX11" fmla="*/ 1615632 w 2292197"/>
                <a:gd name="connsiteY11" fmla="*/ 188681 h 316856"/>
                <a:gd name="connsiteX12" fmla="*/ 1681977 w 2292197"/>
                <a:gd name="connsiteY12" fmla="*/ 152434 h 316856"/>
                <a:gd name="connsiteX13" fmla="*/ 1660732 w 2292197"/>
                <a:gd name="connsiteY13" fmla="*/ 131508 h 316856"/>
                <a:gd name="connsiteX14" fmla="*/ 351674 w 2292197"/>
                <a:gd name="connsiteY14" fmla="*/ 131508 h 316856"/>
                <a:gd name="connsiteX15" fmla="*/ 306574 w 2292197"/>
                <a:gd name="connsiteY15" fmla="*/ 188681 h 316856"/>
                <a:gd name="connsiteX16" fmla="*/ 372919 w 2292197"/>
                <a:gd name="connsiteY16" fmla="*/ 152434 h 316856"/>
                <a:gd name="connsiteX17" fmla="*/ 351674 w 2292197"/>
                <a:gd name="connsiteY17" fmla="*/ 131508 h 316856"/>
                <a:gd name="connsiteX18" fmla="*/ 1234395 w 2292197"/>
                <a:gd name="connsiteY18" fmla="*/ 96976 h 316856"/>
                <a:gd name="connsiteX19" fmla="*/ 1293037 w 2292197"/>
                <a:gd name="connsiteY19" fmla="*/ 96976 h 316856"/>
                <a:gd name="connsiteX20" fmla="*/ 1293037 w 2292197"/>
                <a:gd name="connsiteY20" fmla="*/ 310280 h 316856"/>
                <a:gd name="connsiteX21" fmla="*/ 1263529 w 2292197"/>
                <a:gd name="connsiteY21" fmla="*/ 310280 h 316856"/>
                <a:gd name="connsiteX22" fmla="*/ 1234395 w 2292197"/>
                <a:gd name="connsiteY22" fmla="*/ 310280 h 316856"/>
                <a:gd name="connsiteX23" fmla="*/ 2081174 w 2292197"/>
                <a:gd name="connsiteY23" fmla="*/ 90402 h 316856"/>
                <a:gd name="connsiteX24" fmla="*/ 2115969 w 2292197"/>
                <a:gd name="connsiteY24" fmla="*/ 97838 h 316856"/>
                <a:gd name="connsiteX25" fmla="*/ 2105604 w 2292197"/>
                <a:gd name="connsiteY25" fmla="*/ 148028 h 316856"/>
                <a:gd name="connsiteX26" fmla="*/ 2075991 w 2292197"/>
                <a:gd name="connsiteY26" fmla="*/ 140593 h 316856"/>
                <a:gd name="connsiteX27" fmla="*/ 2040826 w 2292197"/>
                <a:gd name="connsiteY27" fmla="*/ 176656 h 316856"/>
                <a:gd name="connsiteX28" fmla="*/ 2040826 w 2292197"/>
                <a:gd name="connsiteY28" fmla="*/ 308638 h 316856"/>
                <a:gd name="connsiteX29" fmla="*/ 1982710 w 2292197"/>
                <a:gd name="connsiteY29" fmla="*/ 308638 h 316856"/>
                <a:gd name="connsiteX30" fmla="*/ 1982710 w 2292197"/>
                <a:gd name="connsiteY30" fmla="*/ 133157 h 316856"/>
                <a:gd name="connsiteX31" fmla="*/ 1978638 w 2292197"/>
                <a:gd name="connsiteY31" fmla="*/ 96351 h 316856"/>
                <a:gd name="connsiteX32" fmla="*/ 2025649 w 2292197"/>
                <a:gd name="connsiteY32" fmla="*/ 96351 h 316856"/>
                <a:gd name="connsiteX33" fmla="*/ 2031202 w 2292197"/>
                <a:gd name="connsiteY33" fmla="*/ 126837 h 316856"/>
                <a:gd name="connsiteX34" fmla="*/ 2081174 w 2292197"/>
                <a:gd name="connsiteY34" fmla="*/ 90402 h 316856"/>
                <a:gd name="connsiteX35" fmla="*/ 1866986 w 2292197"/>
                <a:gd name="connsiteY35" fmla="*/ 90402 h 316856"/>
                <a:gd name="connsiteX36" fmla="*/ 1937059 w 2292197"/>
                <a:gd name="connsiteY36" fmla="*/ 152060 h 316856"/>
                <a:gd name="connsiteX37" fmla="*/ 1821141 w 2292197"/>
                <a:gd name="connsiteY37" fmla="*/ 230534 h 316856"/>
                <a:gd name="connsiteX38" fmla="*/ 1869595 w 2292197"/>
                <a:gd name="connsiteY38" fmla="*/ 272013 h 316856"/>
                <a:gd name="connsiteX39" fmla="*/ 1922150 w 2292197"/>
                <a:gd name="connsiteY39" fmla="*/ 254076 h 316856"/>
                <a:gd name="connsiteX40" fmla="*/ 1938923 w 2292197"/>
                <a:gd name="connsiteY40" fmla="*/ 293313 h 316856"/>
                <a:gd name="connsiteX41" fmla="*/ 1862141 w 2292197"/>
                <a:gd name="connsiteY41" fmla="*/ 316855 h 316856"/>
                <a:gd name="connsiteX42" fmla="*/ 1762250 w 2292197"/>
                <a:gd name="connsiteY42" fmla="*/ 208487 h 316856"/>
                <a:gd name="connsiteX43" fmla="*/ 1866986 w 2292197"/>
                <a:gd name="connsiteY43" fmla="*/ 90402 h 316856"/>
                <a:gd name="connsiteX44" fmla="*/ 1663713 w 2292197"/>
                <a:gd name="connsiteY44" fmla="*/ 90402 h 316856"/>
                <a:gd name="connsiteX45" fmla="*/ 1733413 w 2292197"/>
                <a:gd name="connsiteY45" fmla="*/ 152060 h 316856"/>
                <a:gd name="connsiteX46" fmla="*/ 1617868 w 2292197"/>
                <a:gd name="connsiteY46" fmla="*/ 230534 h 316856"/>
                <a:gd name="connsiteX47" fmla="*/ 1666322 w 2292197"/>
                <a:gd name="connsiteY47" fmla="*/ 272013 h 316856"/>
                <a:gd name="connsiteX48" fmla="*/ 1718504 w 2292197"/>
                <a:gd name="connsiteY48" fmla="*/ 254076 h 316856"/>
                <a:gd name="connsiteX49" fmla="*/ 1735650 w 2292197"/>
                <a:gd name="connsiteY49" fmla="*/ 293313 h 316856"/>
                <a:gd name="connsiteX50" fmla="*/ 1658495 w 2292197"/>
                <a:gd name="connsiteY50" fmla="*/ 316855 h 316856"/>
                <a:gd name="connsiteX51" fmla="*/ 1558977 w 2292197"/>
                <a:gd name="connsiteY51" fmla="*/ 208487 h 316856"/>
                <a:gd name="connsiteX52" fmla="*/ 1663713 w 2292197"/>
                <a:gd name="connsiteY52" fmla="*/ 90402 h 316856"/>
                <a:gd name="connsiteX53" fmla="*/ 1457145 w 2292197"/>
                <a:gd name="connsiteY53" fmla="*/ 90402 h 316856"/>
                <a:gd name="connsiteX54" fmla="*/ 1524180 w 2292197"/>
                <a:gd name="connsiteY54" fmla="*/ 164015 h 316856"/>
                <a:gd name="connsiteX55" fmla="*/ 1524180 w 2292197"/>
                <a:gd name="connsiteY55" fmla="*/ 308638 h 316856"/>
                <a:gd name="connsiteX56" fmla="*/ 1465710 w 2292197"/>
                <a:gd name="connsiteY56" fmla="*/ 308638 h 316856"/>
                <a:gd name="connsiteX57" fmla="*/ 1465710 w 2292197"/>
                <a:gd name="connsiteY57" fmla="*/ 174797 h 316856"/>
                <a:gd name="connsiteX58" fmla="*/ 1439641 w 2292197"/>
                <a:gd name="connsiteY58" fmla="*/ 134644 h 316856"/>
                <a:gd name="connsiteX59" fmla="*/ 1403516 w 2292197"/>
                <a:gd name="connsiteY59" fmla="*/ 172566 h 316856"/>
                <a:gd name="connsiteX60" fmla="*/ 1403516 w 2292197"/>
                <a:gd name="connsiteY60" fmla="*/ 308638 h 316856"/>
                <a:gd name="connsiteX61" fmla="*/ 1345047 w 2292197"/>
                <a:gd name="connsiteY61" fmla="*/ 308638 h 316856"/>
                <a:gd name="connsiteX62" fmla="*/ 1345047 w 2292197"/>
                <a:gd name="connsiteY62" fmla="*/ 135760 h 316856"/>
                <a:gd name="connsiteX63" fmla="*/ 1340950 w 2292197"/>
                <a:gd name="connsiteY63" fmla="*/ 96351 h 316856"/>
                <a:gd name="connsiteX64" fmla="*/ 1389737 w 2292197"/>
                <a:gd name="connsiteY64" fmla="*/ 96351 h 316856"/>
                <a:gd name="connsiteX65" fmla="*/ 1393834 w 2292197"/>
                <a:gd name="connsiteY65" fmla="*/ 121632 h 316856"/>
                <a:gd name="connsiteX66" fmla="*/ 1457145 w 2292197"/>
                <a:gd name="connsiteY66" fmla="*/ 90402 h 316856"/>
                <a:gd name="connsiteX67" fmla="*/ 568075 w 2292197"/>
                <a:gd name="connsiteY67" fmla="*/ 90402 h 316856"/>
                <a:gd name="connsiteX68" fmla="*/ 644721 w 2292197"/>
                <a:gd name="connsiteY68" fmla="*/ 105688 h 316856"/>
                <a:gd name="connsiteX69" fmla="*/ 644721 w 2292197"/>
                <a:gd name="connsiteY69" fmla="*/ 266746 h 316856"/>
                <a:gd name="connsiteX70" fmla="*/ 648794 w 2292197"/>
                <a:gd name="connsiteY70" fmla="*/ 309247 h 316856"/>
                <a:gd name="connsiteX71" fmla="*/ 599178 w 2292197"/>
                <a:gd name="connsiteY71" fmla="*/ 309247 h 316856"/>
                <a:gd name="connsiteX72" fmla="*/ 596215 w 2292197"/>
                <a:gd name="connsiteY72" fmla="*/ 287624 h 316856"/>
                <a:gd name="connsiteX73" fmla="*/ 594364 w 2292197"/>
                <a:gd name="connsiteY73" fmla="*/ 287251 h 316856"/>
                <a:gd name="connsiteX74" fmla="*/ 538083 w 2292197"/>
                <a:gd name="connsiteY74" fmla="*/ 315212 h 316856"/>
                <a:gd name="connsiteX75" fmla="*/ 457365 w 2292197"/>
                <a:gd name="connsiteY75" fmla="*/ 212314 h 316856"/>
                <a:gd name="connsiteX76" fmla="*/ 568075 w 2292197"/>
                <a:gd name="connsiteY76" fmla="*/ 90402 h 316856"/>
                <a:gd name="connsiteX77" fmla="*/ 353910 w 2292197"/>
                <a:gd name="connsiteY77" fmla="*/ 90402 h 316856"/>
                <a:gd name="connsiteX78" fmla="*/ 423983 w 2292197"/>
                <a:gd name="connsiteY78" fmla="*/ 152060 h 316856"/>
                <a:gd name="connsiteX79" fmla="*/ 308065 w 2292197"/>
                <a:gd name="connsiteY79" fmla="*/ 230534 h 316856"/>
                <a:gd name="connsiteX80" fmla="*/ 356519 w 2292197"/>
                <a:gd name="connsiteY80" fmla="*/ 272013 h 316856"/>
                <a:gd name="connsiteX81" fmla="*/ 409073 w 2292197"/>
                <a:gd name="connsiteY81" fmla="*/ 254076 h 316856"/>
                <a:gd name="connsiteX82" fmla="*/ 425846 w 2292197"/>
                <a:gd name="connsiteY82" fmla="*/ 293313 h 316856"/>
                <a:gd name="connsiteX83" fmla="*/ 349065 w 2292197"/>
                <a:gd name="connsiteY83" fmla="*/ 316855 h 316856"/>
                <a:gd name="connsiteX84" fmla="*/ 249174 w 2292197"/>
                <a:gd name="connsiteY84" fmla="*/ 208487 h 316856"/>
                <a:gd name="connsiteX85" fmla="*/ 353910 w 2292197"/>
                <a:gd name="connsiteY85" fmla="*/ 90402 h 316856"/>
                <a:gd name="connsiteX86" fmla="*/ 2208041 w 2292197"/>
                <a:gd name="connsiteY86" fmla="*/ 90249 h 316856"/>
                <a:gd name="connsiteX87" fmla="*/ 2277182 w 2292197"/>
                <a:gd name="connsiteY87" fmla="*/ 108139 h 316856"/>
                <a:gd name="connsiteX88" fmla="*/ 2277182 w 2292197"/>
                <a:gd name="connsiteY88" fmla="*/ 108512 h 316856"/>
                <a:gd name="connsiteX89" fmla="*/ 2259711 w 2292197"/>
                <a:gd name="connsiteY89" fmla="*/ 148764 h 316856"/>
                <a:gd name="connsiteX90" fmla="*/ 2213245 w 2292197"/>
                <a:gd name="connsiteY90" fmla="*/ 131620 h 316856"/>
                <a:gd name="connsiteX91" fmla="*/ 2189455 w 2292197"/>
                <a:gd name="connsiteY91" fmla="*/ 152119 h 316856"/>
                <a:gd name="connsiteX92" fmla="*/ 2224025 w 2292197"/>
                <a:gd name="connsiteY92" fmla="*/ 177836 h 316856"/>
                <a:gd name="connsiteX93" fmla="*/ 2292050 w 2292197"/>
                <a:gd name="connsiteY93" fmla="*/ 238960 h 316856"/>
                <a:gd name="connsiteX94" fmla="*/ 2214360 w 2292197"/>
                <a:gd name="connsiteY94" fmla="*/ 314993 h 316856"/>
                <a:gd name="connsiteX95" fmla="*/ 2133325 w 2292197"/>
                <a:gd name="connsiteY95" fmla="*/ 297103 h 316856"/>
                <a:gd name="connsiteX96" fmla="*/ 2150796 w 2292197"/>
                <a:gd name="connsiteY96" fmla="*/ 257223 h 316856"/>
                <a:gd name="connsiteX97" fmla="*/ 2208784 w 2292197"/>
                <a:gd name="connsiteY97" fmla="*/ 272504 h 316856"/>
                <a:gd name="connsiteX98" fmla="*/ 2234433 w 2292197"/>
                <a:gd name="connsiteY98" fmla="*/ 249023 h 316856"/>
                <a:gd name="connsiteX99" fmla="*/ 2199863 w 2292197"/>
                <a:gd name="connsiteY99" fmla="*/ 224424 h 316856"/>
                <a:gd name="connsiteX100" fmla="*/ 2133325 w 2292197"/>
                <a:gd name="connsiteY100" fmla="*/ 162555 h 316856"/>
                <a:gd name="connsiteX101" fmla="*/ 2208041 w 2292197"/>
                <a:gd name="connsiteY101" fmla="*/ 90249 h 316856"/>
                <a:gd name="connsiteX102" fmla="*/ 1004892 w 2292197"/>
                <a:gd name="connsiteY102" fmla="*/ 31230 h 316856"/>
                <a:gd name="connsiteX103" fmla="*/ 1063095 w 2292197"/>
                <a:gd name="connsiteY103" fmla="*/ 31230 h 316856"/>
                <a:gd name="connsiteX104" fmla="*/ 1063095 w 2292197"/>
                <a:gd name="connsiteY104" fmla="*/ 112822 h 316856"/>
                <a:gd name="connsiteX105" fmla="*/ 1115736 w 2292197"/>
                <a:gd name="connsiteY105" fmla="*/ 90841 h 316856"/>
                <a:gd name="connsiteX106" fmla="*/ 1183207 w 2292197"/>
                <a:gd name="connsiteY106" fmla="*/ 165727 h 316856"/>
                <a:gd name="connsiteX107" fmla="*/ 1183207 w 2292197"/>
                <a:gd name="connsiteY107" fmla="*/ 310283 h 316856"/>
                <a:gd name="connsiteX108" fmla="*/ 1125004 w 2292197"/>
                <a:gd name="connsiteY108" fmla="*/ 310283 h 316856"/>
                <a:gd name="connsiteX109" fmla="*/ 1125004 w 2292197"/>
                <a:gd name="connsiteY109" fmla="*/ 174668 h 316856"/>
                <a:gd name="connsiteX110" fmla="*/ 1098313 w 2292197"/>
                <a:gd name="connsiteY110" fmla="*/ 136294 h 316856"/>
                <a:gd name="connsiteX111" fmla="*/ 1062353 w 2292197"/>
                <a:gd name="connsiteY111" fmla="*/ 173178 h 316856"/>
                <a:gd name="connsiteX112" fmla="*/ 1062353 w 2292197"/>
                <a:gd name="connsiteY112" fmla="*/ 310283 h 316856"/>
                <a:gd name="connsiteX113" fmla="*/ 1004892 w 2292197"/>
                <a:gd name="connsiteY113" fmla="*/ 310283 h 316856"/>
                <a:gd name="connsiteX114" fmla="*/ 842391 w 2292197"/>
                <a:gd name="connsiteY114" fmla="*/ 31230 h 316856"/>
                <a:gd name="connsiteX115" fmla="*/ 900136 w 2292197"/>
                <a:gd name="connsiteY115" fmla="*/ 31230 h 316856"/>
                <a:gd name="connsiteX116" fmla="*/ 900136 w 2292197"/>
                <a:gd name="connsiteY116" fmla="*/ 97603 h 316856"/>
                <a:gd name="connsiteX117" fmla="*/ 954920 w 2292197"/>
                <a:gd name="connsiteY117" fmla="*/ 97603 h 316856"/>
                <a:gd name="connsiteX118" fmla="*/ 954920 w 2292197"/>
                <a:gd name="connsiteY118" fmla="*/ 143467 h 316856"/>
                <a:gd name="connsiteX119" fmla="*/ 900877 w 2292197"/>
                <a:gd name="connsiteY119" fmla="*/ 143467 h 316856"/>
                <a:gd name="connsiteX120" fmla="*/ 900877 w 2292197"/>
                <a:gd name="connsiteY120" fmla="*/ 238551 h 316856"/>
                <a:gd name="connsiteX121" fmla="*/ 921236 w 2292197"/>
                <a:gd name="connsiteY121" fmla="*/ 270992 h 316856"/>
                <a:gd name="connsiteX122" fmla="*/ 946407 w 2292197"/>
                <a:gd name="connsiteY122" fmla="*/ 264653 h 316856"/>
                <a:gd name="connsiteX123" fmla="*/ 958622 w 2292197"/>
                <a:gd name="connsiteY123" fmla="*/ 303433 h 316856"/>
                <a:gd name="connsiteX124" fmla="*/ 905689 w 2292197"/>
                <a:gd name="connsiteY124" fmla="*/ 316856 h 316856"/>
                <a:gd name="connsiteX125" fmla="*/ 842391 w 2292197"/>
                <a:gd name="connsiteY125" fmla="*/ 247128 h 316856"/>
                <a:gd name="connsiteX126" fmla="*/ 842391 w 2292197"/>
                <a:gd name="connsiteY126" fmla="*/ 143467 h 316856"/>
                <a:gd name="connsiteX127" fmla="*/ 809816 w 2292197"/>
                <a:gd name="connsiteY127" fmla="*/ 143467 h 316856"/>
                <a:gd name="connsiteX128" fmla="*/ 809816 w 2292197"/>
                <a:gd name="connsiteY128" fmla="*/ 97603 h 316856"/>
                <a:gd name="connsiteX129" fmla="*/ 842391 w 2292197"/>
                <a:gd name="connsiteY129" fmla="*/ 97603 h 316856"/>
                <a:gd name="connsiteX130" fmla="*/ 698343 w 2292197"/>
                <a:gd name="connsiteY130" fmla="*/ 31230 h 316856"/>
                <a:gd name="connsiteX131" fmla="*/ 756722 w 2292197"/>
                <a:gd name="connsiteY131" fmla="*/ 31230 h 316856"/>
                <a:gd name="connsiteX132" fmla="*/ 756722 w 2292197"/>
                <a:gd name="connsiteY132" fmla="*/ 238449 h 316856"/>
                <a:gd name="connsiteX133" fmla="*/ 777045 w 2292197"/>
                <a:gd name="connsiteY133" fmla="*/ 270932 h 316856"/>
                <a:gd name="connsiteX134" fmla="*/ 802170 w 2292197"/>
                <a:gd name="connsiteY134" fmla="*/ 264584 h 316856"/>
                <a:gd name="connsiteX135" fmla="*/ 814364 w 2292197"/>
                <a:gd name="connsiteY135" fmla="*/ 303415 h 316856"/>
                <a:gd name="connsiteX136" fmla="*/ 761895 w 2292197"/>
                <a:gd name="connsiteY136" fmla="*/ 316856 h 316856"/>
                <a:gd name="connsiteX137" fmla="*/ 698343 w 2292197"/>
                <a:gd name="connsiteY137" fmla="*/ 247036 h 316856"/>
                <a:gd name="connsiteX138" fmla="*/ 0 w 2292197"/>
                <a:gd name="connsiteY138" fmla="*/ 31230 h 316856"/>
                <a:gd name="connsiteX139" fmla="*/ 59654 w 2292197"/>
                <a:gd name="connsiteY139" fmla="*/ 31230 h 316856"/>
                <a:gd name="connsiteX140" fmla="*/ 59654 w 2292197"/>
                <a:gd name="connsiteY140" fmla="*/ 142255 h 316856"/>
                <a:gd name="connsiteX141" fmla="*/ 145779 w 2292197"/>
                <a:gd name="connsiteY141" fmla="*/ 142255 h 316856"/>
                <a:gd name="connsiteX142" fmla="*/ 145779 w 2292197"/>
                <a:gd name="connsiteY142" fmla="*/ 31230 h 316856"/>
                <a:gd name="connsiteX143" fmla="*/ 206179 w 2292197"/>
                <a:gd name="connsiteY143" fmla="*/ 31230 h 316856"/>
                <a:gd name="connsiteX144" fmla="*/ 206179 w 2292197"/>
                <a:gd name="connsiteY144" fmla="*/ 310283 h 316856"/>
                <a:gd name="connsiteX145" fmla="*/ 145779 w 2292197"/>
                <a:gd name="connsiteY145" fmla="*/ 310283 h 316856"/>
                <a:gd name="connsiteX146" fmla="*/ 145779 w 2292197"/>
                <a:gd name="connsiteY146" fmla="*/ 194787 h 316856"/>
                <a:gd name="connsiteX147" fmla="*/ 59654 w 2292197"/>
                <a:gd name="connsiteY147" fmla="*/ 194787 h 316856"/>
                <a:gd name="connsiteX148" fmla="*/ 59654 w 2292197"/>
                <a:gd name="connsiteY148" fmla="*/ 310283 h 316856"/>
                <a:gd name="connsiteX149" fmla="*/ 0 w 2292197"/>
                <a:gd name="connsiteY149" fmla="*/ 310283 h 316856"/>
                <a:gd name="connsiteX150" fmla="*/ 1262898 w 2292197"/>
                <a:gd name="connsiteY150" fmla="*/ 0 h 316856"/>
                <a:gd name="connsiteX151" fmla="*/ 1294680 w 2292197"/>
                <a:gd name="connsiteY151" fmla="*/ 30408 h 316856"/>
                <a:gd name="connsiteX152" fmla="*/ 1262898 w 2292197"/>
                <a:gd name="connsiteY152" fmla="*/ 60442 h 316856"/>
                <a:gd name="connsiteX153" fmla="*/ 1231116 w 2292197"/>
                <a:gd name="connsiteY153" fmla="*/ 30408 h 316856"/>
                <a:gd name="connsiteX154" fmla="*/ 1262898 w 2292197"/>
                <a:gd name="connsiteY154" fmla="*/ 0 h 31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2292197" h="316856">
                  <a:moveTo>
                    <a:pt x="561040" y="133276"/>
                  </a:moveTo>
                  <a:cubicBezTo>
                    <a:pt x="526975" y="133276"/>
                    <a:pt x="514756" y="167576"/>
                    <a:pt x="514756" y="208959"/>
                  </a:cubicBezTo>
                  <a:cubicBezTo>
                    <a:pt x="514756" y="242885"/>
                    <a:pt x="522532" y="272711"/>
                    <a:pt x="553264" y="272711"/>
                  </a:cubicBezTo>
                  <a:cubicBezTo>
                    <a:pt x="575110" y="272711"/>
                    <a:pt x="587329" y="256680"/>
                    <a:pt x="587329" y="241394"/>
                  </a:cubicBezTo>
                  <a:lnTo>
                    <a:pt x="587329" y="137750"/>
                  </a:lnTo>
                  <a:cubicBezTo>
                    <a:pt x="581775" y="135140"/>
                    <a:pt x="572148" y="133276"/>
                    <a:pt x="561040" y="133276"/>
                  </a:cubicBezTo>
                  <a:close/>
                  <a:moveTo>
                    <a:pt x="1864005" y="131508"/>
                  </a:moveTo>
                  <a:cubicBezTo>
                    <a:pt x="1835677" y="131508"/>
                    <a:pt x="1820768" y="159908"/>
                    <a:pt x="1819277" y="188681"/>
                  </a:cubicBezTo>
                  <a:cubicBezTo>
                    <a:pt x="1846486" y="187934"/>
                    <a:pt x="1885623" y="181208"/>
                    <a:pt x="1885623" y="152434"/>
                  </a:cubicBezTo>
                  <a:cubicBezTo>
                    <a:pt x="1885623" y="139355"/>
                    <a:pt x="1877795" y="131508"/>
                    <a:pt x="1864005" y="131508"/>
                  </a:cubicBezTo>
                  <a:close/>
                  <a:moveTo>
                    <a:pt x="1660732" y="131508"/>
                  </a:moveTo>
                  <a:cubicBezTo>
                    <a:pt x="1632032" y="131508"/>
                    <a:pt x="1617123" y="159908"/>
                    <a:pt x="1615632" y="188681"/>
                  </a:cubicBezTo>
                  <a:cubicBezTo>
                    <a:pt x="1643213" y="187934"/>
                    <a:pt x="1681977" y="181208"/>
                    <a:pt x="1681977" y="152434"/>
                  </a:cubicBezTo>
                  <a:cubicBezTo>
                    <a:pt x="1681977" y="139355"/>
                    <a:pt x="1673777" y="131508"/>
                    <a:pt x="1660732" y="131508"/>
                  </a:cubicBezTo>
                  <a:close/>
                  <a:moveTo>
                    <a:pt x="351674" y="131508"/>
                  </a:moveTo>
                  <a:cubicBezTo>
                    <a:pt x="322974" y="131508"/>
                    <a:pt x="308065" y="159908"/>
                    <a:pt x="306574" y="188681"/>
                  </a:cubicBezTo>
                  <a:cubicBezTo>
                    <a:pt x="334155" y="187934"/>
                    <a:pt x="372919" y="181208"/>
                    <a:pt x="372919" y="152434"/>
                  </a:cubicBezTo>
                  <a:cubicBezTo>
                    <a:pt x="372919" y="139355"/>
                    <a:pt x="364719" y="131508"/>
                    <a:pt x="351674" y="131508"/>
                  </a:cubicBezTo>
                  <a:close/>
                  <a:moveTo>
                    <a:pt x="1234395" y="96976"/>
                  </a:moveTo>
                  <a:lnTo>
                    <a:pt x="1293037" y="96976"/>
                  </a:lnTo>
                  <a:lnTo>
                    <a:pt x="1293037" y="310280"/>
                  </a:lnTo>
                  <a:lnTo>
                    <a:pt x="1263529" y="310280"/>
                  </a:lnTo>
                  <a:lnTo>
                    <a:pt x="1234395" y="310280"/>
                  </a:lnTo>
                  <a:close/>
                  <a:moveTo>
                    <a:pt x="2081174" y="90402"/>
                  </a:moveTo>
                  <a:cubicBezTo>
                    <a:pt x="2093389" y="90402"/>
                    <a:pt x="2105975" y="92261"/>
                    <a:pt x="2115969" y="97838"/>
                  </a:cubicBezTo>
                  <a:lnTo>
                    <a:pt x="2105604" y="148028"/>
                  </a:lnTo>
                  <a:cubicBezTo>
                    <a:pt x="2096721" y="143567"/>
                    <a:pt x="2086726" y="140593"/>
                    <a:pt x="2075991" y="140593"/>
                  </a:cubicBezTo>
                  <a:cubicBezTo>
                    <a:pt x="2054892" y="140593"/>
                    <a:pt x="2041566" y="154720"/>
                    <a:pt x="2040826" y="176656"/>
                  </a:cubicBezTo>
                  <a:lnTo>
                    <a:pt x="2040826" y="308638"/>
                  </a:lnTo>
                  <a:lnTo>
                    <a:pt x="1982710" y="308638"/>
                  </a:lnTo>
                  <a:lnTo>
                    <a:pt x="1982710" y="133157"/>
                  </a:lnTo>
                  <a:lnTo>
                    <a:pt x="1978638" y="96351"/>
                  </a:lnTo>
                  <a:lnTo>
                    <a:pt x="2025649" y="96351"/>
                  </a:lnTo>
                  <a:lnTo>
                    <a:pt x="2031202" y="126837"/>
                  </a:lnTo>
                  <a:cubicBezTo>
                    <a:pt x="2041196" y="102299"/>
                    <a:pt x="2061555" y="90402"/>
                    <a:pt x="2081174" y="90402"/>
                  </a:cubicBezTo>
                  <a:close/>
                  <a:moveTo>
                    <a:pt x="1866986" y="90402"/>
                  </a:moveTo>
                  <a:cubicBezTo>
                    <a:pt x="1909477" y="90402"/>
                    <a:pt x="1937059" y="111702"/>
                    <a:pt x="1937059" y="152060"/>
                  </a:cubicBezTo>
                  <a:cubicBezTo>
                    <a:pt x="1937059" y="215213"/>
                    <a:pt x="1872577" y="227545"/>
                    <a:pt x="1821141" y="230534"/>
                  </a:cubicBezTo>
                  <a:cubicBezTo>
                    <a:pt x="1824123" y="250713"/>
                    <a:pt x="1837541" y="272013"/>
                    <a:pt x="1869595" y="272013"/>
                  </a:cubicBezTo>
                  <a:cubicBezTo>
                    <a:pt x="1891959" y="272013"/>
                    <a:pt x="1910223" y="262297"/>
                    <a:pt x="1922150" y="254076"/>
                  </a:cubicBezTo>
                  <a:lnTo>
                    <a:pt x="1938923" y="293313"/>
                  </a:lnTo>
                  <a:cubicBezTo>
                    <a:pt x="1934077" y="297050"/>
                    <a:pt x="1904632" y="316855"/>
                    <a:pt x="1862141" y="316855"/>
                  </a:cubicBezTo>
                  <a:cubicBezTo>
                    <a:pt x="1790577" y="316855"/>
                    <a:pt x="1762250" y="271640"/>
                    <a:pt x="1762250" y="208487"/>
                  </a:cubicBezTo>
                  <a:cubicBezTo>
                    <a:pt x="1762250" y="146829"/>
                    <a:pt x="1798405" y="90402"/>
                    <a:pt x="1866986" y="90402"/>
                  </a:cubicBezTo>
                  <a:close/>
                  <a:moveTo>
                    <a:pt x="1663713" y="90402"/>
                  </a:moveTo>
                  <a:cubicBezTo>
                    <a:pt x="1706204" y="90402"/>
                    <a:pt x="1733413" y="111702"/>
                    <a:pt x="1733413" y="152060"/>
                  </a:cubicBezTo>
                  <a:cubicBezTo>
                    <a:pt x="1733413" y="215213"/>
                    <a:pt x="1669304" y="227545"/>
                    <a:pt x="1617868" y="230534"/>
                  </a:cubicBezTo>
                  <a:cubicBezTo>
                    <a:pt x="1620850" y="250713"/>
                    <a:pt x="1634268" y="272013"/>
                    <a:pt x="1666322" y="272013"/>
                  </a:cubicBezTo>
                  <a:cubicBezTo>
                    <a:pt x="1688686" y="272013"/>
                    <a:pt x="1706577" y="262297"/>
                    <a:pt x="1718504" y="254076"/>
                  </a:cubicBezTo>
                  <a:lnTo>
                    <a:pt x="1735650" y="293313"/>
                  </a:lnTo>
                  <a:cubicBezTo>
                    <a:pt x="1730431" y="297050"/>
                    <a:pt x="1700986" y="316855"/>
                    <a:pt x="1658495" y="316855"/>
                  </a:cubicBezTo>
                  <a:cubicBezTo>
                    <a:pt x="1587304" y="316855"/>
                    <a:pt x="1558977" y="271640"/>
                    <a:pt x="1558977" y="208487"/>
                  </a:cubicBezTo>
                  <a:cubicBezTo>
                    <a:pt x="1558977" y="146829"/>
                    <a:pt x="1594759" y="90402"/>
                    <a:pt x="1663713" y="90402"/>
                  </a:cubicBezTo>
                  <a:close/>
                  <a:moveTo>
                    <a:pt x="1457145" y="90402"/>
                  </a:moveTo>
                  <a:cubicBezTo>
                    <a:pt x="1498483" y="90402"/>
                    <a:pt x="1524180" y="113824"/>
                    <a:pt x="1524180" y="164015"/>
                  </a:cubicBezTo>
                  <a:lnTo>
                    <a:pt x="1524180" y="308638"/>
                  </a:lnTo>
                  <a:lnTo>
                    <a:pt x="1465710" y="308638"/>
                  </a:lnTo>
                  <a:lnTo>
                    <a:pt x="1465710" y="174797"/>
                  </a:lnTo>
                  <a:cubicBezTo>
                    <a:pt x="1465710" y="152118"/>
                    <a:pt x="1462358" y="134644"/>
                    <a:pt x="1439641" y="134644"/>
                  </a:cubicBezTo>
                  <a:cubicBezTo>
                    <a:pt x="1417668" y="134644"/>
                    <a:pt x="1403516" y="152490"/>
                    <a:pt x="1403516" y="172566"/>
                  </a:cubicBezTo>
                  <a:lnTo>
                    <a:pt x="1403516" y="308638"/>
                  </a:lnTo>
                  <a:lnTo>
                    <a:pt x="1345047" y="308638"/>
                  </a:lnTo>
                  <a:lnTo>
                    <a:pt x="1345047" y="135760"/>
                  </a:lnTo>
                  <a:lnTo>
                    <a:pt x="1340950" y="96351"/>
                  </a:lnTo>
                  <a:lnTo>
                    <a:pt x="1389737" y="96351"/>
                  </a:lnTo>
                  <a:lnTo>
                    <a:pt x="1393834" y="121632"/>
                  </a:lnTo>
                  <a:cubicBezTo>
                    <a:pt x="1407985" y="102299"/>
                    <a:pt x="1429213" y="90402"/>
                    <a:pt x="1457145" y="90402"/>
                  </a:cubicBezTo>
                  <a:close/>
                  <a:moveTo>
                    <a:pt x="568075" y="90402"/>
                  </a:moveTo>
                  <a:cubicBezTo>
                    <a:pt x="582516" y="90402"/>
                    <a:pt x="613248" y="93758"/>
                    <a:pt x="644721" y="105688"/>
                  </a:cubicBezTo>
                  <a:lnTo>
                    <a:pt x="644721" y="266746"/>
                  </a:lnTo>
                  <a:lnTo>
                    <a:pt x="648794" y="309247"/>
                  </a:lnTo>
                  <a:lnTo>
                    <a:pt x="599178" y="309247"/>
                  </a:lnTo>
                  <a:lnTo>
                    <a:pt x="596215" y="287624"/>
                  </a:lnTo>
                  <a:lnTo>
                    <a:pt x="594364" y="287251"/>
                  </a:lnTo>
                  <a:cubicBezTo>
                    <a:pt x="581775" y="306637"/>
                    <a:pt x="560670" y="315212"/>
                    <a:pt x="538083" y="315212"/>
                  </a:cubicBezTo>
                  <a:cubicBezTo>
                    <a:pt x="477730" y="315212"/>
                    <a:pt x="457365" y="269356"/>
                    <a:pt x="457365" y="212314"/>
                  </a:cubicBezTo>
                  <a:cubicBezTo>
                    <a:pt x="457365" y="138869"/>
                    <a:pt x="494021" y="90402"/>
                    <a:pt x="568075" y="90402"/>
                  </a:cubicBezTo>
                  <a:close/>
                  <a:moveTo>
                    <a:pt x="353910" y="90402"/>
                  </a:moveTo>
                  <a:cubicBezTo>
                    <a:pt x="396401" y="90402"/>
                    <a:pt x="423983" y="111702"/>
                    <a:pt x="423983" y="152060"/>
                  </a:cubicBezTo>
                  <a:cubicBezTo>
                    <a:pt x="423983" y="215213"/>
                    <a:pt x="360246" y="227545"/>
                    <a:pt x="308065" y="230534"/>
                  </a:cubicBezTo>
                  <a:cubicBezTo>
                    <a:pt x="311046" y="250713"/>
                    <a:pt x="324465" y="272013"/>
                    <a:pt x="356519" y="272013"/>
                  </a:cubicBezTo>
                  <a:cubicBezTo>
                    <a:pt x="378883" y="272013"/>
                    <a:pt x="397146" y="262297"/>
                    <a:pt x="409073" y="254076"/>
                  </a:cubicBezTo>
                  <a:lnTo>
                    <a:pt x="425846" y="293313"/>
                  </a:lnTo>
                  <a:cubicBezTo>
                    <a:pt x="421001" y="297050"/>
                    <a:pt x="391555" y="316855"/>
                    <a:pt x="349065" y="316855"/>
                  </a:cubicBezTo>
                  <a:cubicBezTo>
                    <a:pt x="277501" y="316855"/>
                    <a:pt x="249174" y="271640"/>
                    <a:pt x="249174" y="208487"/>
                  </a:cubicBezTo>
                  <a:cubicBezTo>
                    <a:pt x="249174" y="146829"/>
                    <a:pt x="285328" y="90402"/>
                    <a:pt x="353910" y="90402"/>
                  </a:cubicBezTo>
                  <a:close/>
                  <a:moveTo>
                    <a:pt x="2208041" y="90249"/>
                  </a:moveTo>
                  <a:cubicBezTo>
                    <a:pt x="2234433" y="88758"/>
                    <a:pt x="2258595" y="96212"/>
                    <a:pt x="2277182" y="108139"/>
                  </a:cubicBezTo>
                  <a:lnTo>
                    <a:pt x="2277182" y="108512"/>
                  </a:lnTo>
                  <a:lnTo>
                    <a:pt x="2259711" y="148764"/>
                  </a:lnTo>
                  <a:cubicBezTo>
                    <a:pt x="2243355" y="137210"/>
                    <a:pt x="2227742" y="131247"/>
                    <a:pt x="2213245" y="131620"/>
                  </a:cubicBezTo>
                  <a:cubicBezTo>
                    <a:pt x="2199863" y="131992"/>
                    <a:pt x="2189083" y="137956"/>
                    <a:pt x="2189455" y="152119"/>
                  </a:cubicBezTo>
                  <a:cubicBezTo>
                    <a:pt x="2190570" y="168518"/>
                    <a:pt x="2205067" y="172618"/>
                    <a:pt x="2224025" y="177836"/>
                  </a:cubicBezTo>
                  <a:cubicBezTo>
                    <a:pt x="2254878" y="185663"/>
                    <a:pt x="2289448" y="194980"/>
                    <a:pt x="2292050" y="238960"/>
                  </a:cubicBezTo>
                  <a:cubicBezTo>
                    <a:pt x="2294653" y="287040"/>
                    <a:pt x="2262684" y="312384"/>
                    <a:pt x="2214360" y="314993"/>
                  </a:cubicBezTo>
                  <a:cubicBezTo>
                    <a:pt x="2177188" y="316856"/>
                    <a:pt x="2145591" y="304930"/>
                    <a:pt x="2133325" y="297103"/>
                  </a:cubicBezTo>
                  <a:lnTo>
                    <a:pt x="2150796" y="257223"/>
                  </a:lnTo>
                  <a:cubicBezTo>
                    <a:pt x="2166036" y="265050"/>
                    <a:pt x="2189827" y="273622"/>
                    <a:pt x="2208784" y="272504"/>
                  </a:cubicBezTo>
                  <a:cubicBezTo>
                    <a:pt x="2224397" y="272131"/>
                    <a:pt x="2235177" y="265050"/>
                    <a:pt x="2234433" y="249023"/>
                  </a:cubicBezTo>
                  <a:cubicBezTo>
                    <a:pt x="2233318" y="232624"/>
                    <a:pt x="2218449" y="229270"/>
                    <a:pt x="2199863" y="224424"/>
                  </a:cubicBezTo>
                  <a:cubicBezTo>
                    <a:pt x="2167895" y="216970"/>
                    <a:pt x="2135927" y="206534"/>
                    <a:pt x="2133325" y="162555"/>
                  </a:cubicBezTo>
                  <a:cubicBezTo>
                    <a:pt x="2131094" y="118202"/>
                    <a:pt x="2164549" y="92858"/>
                    <a:pt x="2208041" y="90249"/>
                  </a:cubicBezTo>
                  <a:close/>
                  <a:moveTo>
                    <a:pt x="1004892" y="31230"/>
                  </a:moveTo>
                  <a:lnTo>
                    <a:pt x="1063095" y="31230"/>
                  </a:lnTo>
                  <a:lnTo>
                    <a:pt x="1063095" y="112822"/>
                  </a:lnTo>
                  <a:cubicBezTo>
                    <a:pt x="1076440" y="98665"/>
                    <a:pt x="1095347" y="90841"/>
                    <a:pt x="1115736" y="90841"/>
                  </a:cubicBezTo>
                  <a:cubicBezTo>
                    <a:pt x="1159481" y="90841"/>
                    <a:pt x="1183207" y="115803"/>
                    <a:pt x="1183207" y="165727"/>
                  </a:cubicBezTo>
                  <a:lnTo>
                    <a:pt x="1183207" y="310283"/>
                  </a:lnTo>
                  <a:lnTo>
                    <a:pt x="1125004" y="310283"/>
                  </a:lnTo>
                  <a:lnTo>
                    <a:pt x="1125004" y="174668"/>
                  </a:lnTo>
                  <a:cubicBezTo>
                    <a:pt x="1125004" y="153432"/>
                    <a:pt x="1120556" y="136294"/>
                    <a:pt x="1098313" y="136294"/>
                  </a:cubicBezTo>
                  <a:cubicBezTo>
                    <a:pt x="1076811" y="136294"/>
                    <a:pt x="1062353" y="153432"/>
                    <a:pt x="1062353" y="173178"/>
                  </a:cubicBezTo>
                  <a:lnTo>
                    <a:pt x="1062353" y="310283"/>
                  </a:lnTo>
                  <a:lnTo>
                    <a:pt x="1004892" y="310283"/>
                  </a:lnTo>
                  <a:close/>
                  <a:moveTo>
                    <a:pt x="842391" y="31230"/>
                  </a:moveTo>
                  <a:lnTo>
                    <a:pt x="900136" y="31230"/>
                  </a:lnTo>
                  <a:lnTo>
                    <a:pt x="900136" y="97603"/>
                  </a:lnTo>
                  <a:lnTo>
                    <a:pt x="954920" y="97603"/>
                  </a:lnTo>
                  <a:lnTo>
                    <a:pt x="954920" y="143467"/>
                  </a:lnTo>
                  <a:lnTo>
                    <a:pt x="900877" y="143467"/>
                  </a:lnTo>
                  <a:lnTo>
                    <a:pt x="900877" y="238551"/>
                  </a:lnTo>
                  <a:cubicBezTo>
                    <a:pt x="900877" y="261670"/>
                    <a:pt x="905689" y="270992"/>
                    <a:pt x="921236" y="270992"/>
                  </a:cubicBezTo>
                  <a:cubicBezTo>
                    <a:pt x="928639" y="270992"/>
                    <a:pt x="936782" y="268382"/>
                    <a:pt x="946407" y="264653"/>
                  </a:cubicBezTo>
                  <a:lnTo>
                    <a:pt x="958622" y="303433"/>
                  </a:lnTo>
                  <a:cubicBezTo>
                    <a:pt x="946407" y="311636"/>
                    <a:pt x="924197" y="316856"/>
                    <a:pt x="905689" y="316856"/>
                  </a:cubicBezTo>
                  <a:cubicBezTo>
                    <a:pt x="845722" y="316856"/>
                    <a:pt x="842391" y="282551"/>
                    <a:pt x="842391" y="247128"/>
                  </a:cubicBezTo>
                  <a:lnTo>
                    <a:pt x="842391" y="143467"/>
                  </a:lnTo>
                  <a:lnTo>
                    <a:pt x="809816" y="143467"/>
                  </a:lnTo>
                  <a:lnTo>
                    <a:pt x="809816" y="97603"/>
                  </a:lnTo>
                  <a:lnTo>
                    <a:pt x="842391" y="97603"/>
                  </a:lnTo>
                  <a:close/>
                  <a:moveTo>
                    <a:pt x="698343" y="31230"/>
                  </a:moveTo>
                  <a:lnTo>
                    <a:pt x="756722" y="31230"/>
                  </a:lnTo>
                  <a:lnTo>
                    <a:pt x="756722" y="238449"/>
                  </a:lnTo>
                  <a:cubicBezTo>
                    <a:pt x="756722" y="261597"/>
                    <a:pt x="761895" y="270932"/>
                    <a:pt x="777045" y="270932"/>
                  </a:cubicBezTo>
                  <a:cubicBezTo>
                    <a:pt x="784434" y="270932"/>
                    <a:pt x="792563" y="268318"/>
                    <a:pt x="802170" y="264584"/>
                  </a:cubicBezTo>
                  <a:lnTo>
                    <a:pt x="814364" y="303415"/>
                  </a:lnTo>
                  <a:cubicBezTo>
                    <a:pt x="802170" y="311629"/>
                    <a:pt x="780000" y="316856"/>
                    <a:pt x="761895" y="316856"/>
                  </a:cubicBezTo>
                  <a:cubicBezTo>
                    <a:pt x="702038" y="316856"/>
                    <a:pt x="698343" y="282506"/>
                    <a:pt x="698343" y="247036"/>
                  </a:cubicBezTo>
                  <a:close/>
                  <a:moveTo>
                    <a:pt x="0" y="31230"/>
                  </a:moveTo>
                  <a:lnTo>
                    <a:pt x="59654" y="31230"/>
                  </a:lnTo>
                  <a:lnTo>
                    <a:pt x="59654" y="142255"/>
                  </a:lnTo>
                  <a:lnTo>
                    <a:pt x="145779" y="142255"/>
                  </a:lnTo>
                  <a:lnTo>
                    <a:pt x="145779" y="31230"/>
                  </a:lnTo>
                  <a:lnTo>
                    <a:pt x="206179" y="31230"/>
                  </a:lnTo>
                  <a:lnTo>
                    <a:pt x="206179" y="310283"/>
                  </a:lnTo>
                  <a:lnTo>
                    <a:pt x="145779" y="310283"/>
                  </a:lnTo>
                  <a:lnTo>
                    <a:pt x="145779" y="194787"/>
                  </a:lnTo>
                  <a:lnTo>
                    <a:pt x="59654" y="194787"/>
                  </a:lnTo>
                  <a:lnTo>
                    <a:pt x="59654" y="310283"/>
                  </a:lnTo>
                  <a:lnTo>
                    <a:pt x="0" y="310283"/>
                  </a:lnTo>
                  <a:close/>
                  <a:moveTo>
                    <a:pt x="1262898" y="0"/>
                  </a:moveTo>
                  <a:cubicBezTo>
                    <a:pt x="1281745" y="0"/>
                    <a:pt x="1294680" y="13890"/>
                    <a:pt x="1294680" y="30408"/>
                  </a:cubicBezTo>
                  <a:cubicBezTo>
                    <a:pt x="1294680" y="48053"/>
                    <a:pt x="1281745" y="60442"/>
                    <a:pt x="1262898" y="60442"/>
                  </a:cubicBezTo>
                  <a:cubicBezTo>
                    <a:pt x="1243681" y="60442"/>
                    <a:pt x="1231116" y="48053"/>
                    <a:pt x="1231116" y="30408"/>
                  </a:cubicBezTo>
                  <a:cubicBezTo>
                    <a:pt x="1231116" y="13890"/>
                    <a:pt x="1244051" y="0"/>
                    <a:pt x="1262898" y="0"/>
                  </a:cubicBezTo>
                  <a:close/>
                </a:path>
              </a:pathLst>
            </a:custGeom>
            <a:solidFill>
              <a:srgbClr val="EC6602"/>
            </a:solidFill>
            <a:ln w="9525" cap="flat">
              <a:noFill/>
              <a:bevel/>
              <a:headEnd/>
              <a:tailEnd/>
            </a:ln>
            <a:effectLst/>
          </p:spPr>
          <p:txBody>
            <a:bodyPr wrap="square" anchor="ctr">
              <a:prstTxWarp prst="textNoShape">
                <a:avLst/>
              </a:prstTxWarp>
              <a:noAutofit/>
            </a:bodyPr>
            <a:lstStyle/>
            <a:p>
              <a:pPr defTabSz="1081604">
                <a:defRPr/>
              </a:pPr>
              <a:endParaRPr lang="en-US" sz="2095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" name="GS Doctop Placeholder" hidden="1"/>
          <p:cNvSpPr txBox="1"/>
          <p:nvPr/>
        </p:nvSpPr>
        <p:spPr>
          <a:xfrm>
            <a:off x="544821" y="31"/>
            <a:ext cx="7075690" cy="217575"/>
          </a:xfrm>
          <a:prstGeom prst="rect">
            <a:avLst/>
          </a:prstGeom>
          <a:noFill/>
        </p:spPr>
        <p:txBody>
          <a:bodyPr vert="horz" wrap="none" lIns="89389" tIns="46477" rIns="89389" bIns="46477" rtlCol="0">
            <a:spAutoFit/>
          </a:bodyPr>
          <a:lstStyle/>
          <a:p>
            <a:pPr defTabSz="1081271"/>
            <a:r>
              <a:rPr lang="en-US" sz="798">
                <a:solidFill>
                  <a:srgbClr val="000000"/>
                </a:solidFill>
                <a:latin typeface="Arial"/>
              </a:rPr>
              <a:t>IBDROOT\PROJECTS\IBD-LN\ELLIPSES2017\604508_1\15 Analyst Presentation\Presentation - Imaging\20171024 CMD - Segment Imaging v19.pptx</a:t>
            </a:r>
            <a:endParaRPr lang="en-US" sz="798" dirty="0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-380107" y="-377700"/>
            <a:ext cx="12885644" cy="7608719"/>
            <a:chOff x="-381000" y="-377819"/>
            <a:chExt cx="12915900" cy="7610481"/>
          </a:xfrm>
        </p:grpSpPr>
        <p:cxnSp>
          <p:nvCxnSpPr>
            <p:cNvPr id="48" name="Gerade Verbindung 237"/>
            <p:cNvCxnSpPr/>
            <p:nvPr userDrawn="1"/>
          </p:nvCxnSpPr>
          <p:spPr>
            <a:xfrm flipH="1">
              <a:off x="-381000" y="162959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238"/>
            <p:cNvCxnSpPr/>
            <p:nvPr userDrawn="1"/>
          </p:nvCxnSpPr>
          <p:spPr>
            <a:xfrm flipH="1">
              <a:off x="-381000" y="6310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239"/>
            <p:cNvCxnSpPr/>
            <p:nvPr userDrawn="1"/>
          </p:nvCxnSpPr>
          <p:spPr>
            <a:xfrm flipH="1">
              <a:off x="12315825" y="162959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240"/>
            <p:cNvCxnSpPr/>
            <p:nvPr userDrawn="1"/>
          </p:nvCxnSpPr>
          <p:spPr>
            <a:xfrm flipH="1">
              <a:off x="12315825" y="631011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241"/>
            <p:cNvCxnSpPr/>
            <p:nvPr userDrawn="1"/>
          </p:nvCxnSpPr>
          <p:spPr>
            <a:xfrm rot="16200000" flipH="1">
              <a:off x="11534253" y="7123122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242"/>
            <p:cNvCxnSpPr/>
            <p:nvPr userDrawn="1"/>
          </p:nvCxnSpPr>
          <p:spPr>
            <a:xfrm rot="16200000" flipH="1">
              <a:off x="9513888" y="7123122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243"/>
            <p:cNvCxnSpPr/>
            <p:nvPr userDrawn="1"/>
          </p:nvCxnSpPr>
          <p:spPr>
            <a:xfrm rot="16200000" flipH="1">
              <a:off x="373012" y="7123121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244"/>
            <p:cNvCxnSpPr/>
            <p:nvPr userDrawn="1"/>
          </p:nvCxnSpPr>
          <p:spPr>
            <a:xfrm rot="16200000" flipH="1">
              <a:off x="7767992" y="712312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245"/>
            <p:cNvCxnSpPr/>
            <p:nvPr userDrawn="1"/>
          </p:nvCxnSpPr>
          <p:spPr>
            <a:xfrm rot="16200000" flipH="1">
              <a:off x="7905536" y="712312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246"/>
            <p:cNvCxnSpPr/>
            <p:nvPr userDrawn="1"/>
          </p:nvCxnSpPr>
          <p:spPr>
            <a:xfrm rot="16200000" flipH="1">
              <a:off x="5878514" y="7123123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247"/>
            <p:cNvCxnSpPr/>
            <p:nvPr userDrawn="1"/>
          </p:nvCxnSpPr>
          <p:spPr>
            <a:xfrm rot="16200000" flipH="1">
              <a:off x="6021390" y="712312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248"/>
            <p:cNvCxnSpPr/>
            <p:nvPr userDrawn="1"/>
          </p:nvCxnSpPr>
          <p:spPr>
            <a:xfrm rot="16200000" flipH="1">
              <a:off x="4001731" y="712312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249"/>
            <p:cNvCxnSpPr/>
            <p:nvPr userDrawn="1"/>
          </p:nvCxnSpPr>
          <p:spPr>
            <a:xfrm rot="16200000" flipH="1">
              <a:off x="4139275" y="7123125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250"/>
            <p:cNvCxnSpPr/>
            <p:nvPr userDrawn="1"/>
          </p:nvCxnSpPr>
          <p:spPr>
            <a:xfrm rot="16200000" flipH="1">
              <a:off x="11534253" y="-26828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251"/>
            <p:cNvCxnSpPr/>
            <p:nvPr userDrawn="1"/>
          </p:nvCxnSpPr>
          <p:spPr>
            <a:xfrm rot="16200000" flipH="1">
              <a:off x="9513888" y="-268280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252"/>
            <p:cNvCxnSpPr/>
            <p:nvPr userDrawn="1"/>
          </p:nvCxnSpPr>
          <p:spPr>
            <a:xfrm rot="16200000" flipH="1">
              <a:off x="373012" y="-268281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253"/>
            <p:cNvCxnSpPr/>
            <p:nvPr userDrawn="1"/>
          </p:nvCxnSpPr>
          <p:spPr>
            <a:xfrm rot="16200000" flipH="1">
              <a:off x="7767992" y="-268279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254"/>
            <p:cNvCxnSpPr/>
            <p:nvPr userDrawn="1"/>
          </p:nvCxnSpPr>
          <p:spPr>
            <a:xfrm rot="16200000" flipH="1">
              <a:off x="7905536" y="-26827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255"/>
            <p:cNvCxnSpPr/>
            <p:nvPr userDrawn="1"/>
          </p:nvCxnSpPr>
          <p:spPr>
            <a:xfrm rot="16200000" flipH="1">
              <a:off x="5878515" y="-268279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56"/>
            <p:cNvCxnSpPr/>
            <p:nvPr userDrawn="1"/>
          </p:nvCxnSpPr>
          <p:spPr>
            <a:xfrm rot="16200000" flipH="1">
              <a:off x="6021391" y="-26827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57"/>
            <p:cNvCxnSpPr/>
            <p:nvPr userDrawn="1"/>
          </p:nvCxnSpPr>
          <p:spPr>
            <a:xfrm rot="16200000" flipH="1">
              <a:off x="4001731" y="-268278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58"/>
            <p:cNvCxnSpPr/>
            <p:nvPr userDrawn="1"/>
          </p:nvCxnSpPr>
          <p:spPr>
            <a:xfrm rot="16200000" flipH="1">
              <a:off x="4139275" y="-26827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59"/>
            <p:cNvCxnSpPr/>
            <p:nvPr userDrawn="1"/>
          </p:nvCxnSpPr>
          <p:spPr>
            <a:xfrm flipH="1">
              <a:off x="-381000" y="389730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260"/>
            <p:cNvCxnSpPr/>
            <p:nvPr userDrawn="1"/>
          </p:nvCxnSpPr>
          <p:spPr>
            <a:xfrm flipH="1">
              <a:off x="-381000" y="404259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261"/>
            <p:cNvCxnSpPr/>
            <p:nvPr userDrawn="1"/>
          </p:nvCxnSpPr>
          <p:spPr>
            <a:xfrm flipH="1">
              <a:off x="12315825" y="3897306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262"/>
            <p:cNvCxnSpPr/>
            <p:nvPr userDrawn="1"/>
          </p:nvCxnSpPr>
          <p:spPr>
            <a:xfrm flipH="1">
              <a:off x="12315825" y="4042594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263"/>
            <p:cNvCxnSpPr/>
            <p:nvPr userDrawn="1"/>
          </p:nvCxnSpPr>
          <p:spPr>
            <a:xfrm flipH="1">
              <a:off x="12315825" y="34290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264"/>
            <p:cNvCxnSpPr/>
            <p:nvPr userDrawn="1"/>
          </p:nvCxnSpPr>
          <p:spPr>
            <a:xfrm flipH="1">
              <a:off x="-381000" y="342907"/>
              <a:ext cx="219075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8"/>
    </p:custDataLst>
    <p:extLst>
      <p:ext uri="{BB962C8B-B14F-4D97-AF65-F5344CB8AC3E}">
        <p14:creationId xmlns:p14="http://schemas.microsoft.com/office/powerpoint/2010/main" val="22734876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6972" r:id="rId1"/>
    <p:sldLayoutId id="2147486973" r:id="rId2"/>
    <p:sldLayoutId id="2147486974" r:id="rId3"/>
    <p:sldLayoutId id="2147486975" r:id="rId4"/>
    <p:sldLayoutId id="2147486976" r:id="rId5"/>
    <p:sldLayoutId id="2147486977" r:id="rId6"/>
    <p:sldLayoutId id="2147486978" r:id="rId7"/>
    <p:sldLayoutId id="2147486979" r:id="rId8"/>
    <p:sldLayoutId id="2147486980" r:id="rId9"/>
    <p:sldLayoutId id="2147486981" r:id="rId10"/>
    <p:sldLayoutId id="2147486982" r:id="rId11"/>
    <p:sldLayoutId id="2147486983" r:id="rId12"/>
    <p:sldLayoutId id="2147486984" r:id="rId13"/>
    <p:sldLayoutId id="2147486985" r:id="rId14"/>
    <p:sldLayoutId id="2147486986" r:id="rId15"/>
    <p:sldLayoutId id="2147486988" r:id="rId16"/>
  </p:sldLayoutIdLst>
  <p:txStyles>
    <p:titleStyle>
      <a:lvl1pPr algn="l" defTabSz="1081271" rtl="0" eaLnBrk="1" latinLnBrk="0" hangingPunct="1">
        <a:spcBef>
          <a:spcPct val="0"/>
        </a:spcBef>
        <a:buNone/>
        <a:defRPr lang="en-GB" sz="3194" b="1" kern="120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81271" rtl="0" eaLnBrk="1" latinLnBrk="0" hangingPunct="1">
        <a:spcBef>
          <a:spcPct val="20000"/>
        </a:spcBef>
        <a:buClr>
          <a:schemeClr val="bg2"/>
        </a:buClr>
        <a:buFont typeface="Arial" panose="020B0604020202020204" pitchFamily="34" charset="0"/>
        <a:buNone/>
        <a:defRPr sz="2595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64817" indent="-264817" algn="l" defTabSz="1081271" rtl="0" eaLnBrk="1" latinLnBrk="0" hangingPunct="1">
        <a:spcBef>
          <a:spcPts val="1195"/>
        </a:spcBef>
        <a:buClr>
          <a:schemeClr val="tx2"/>
        </a:buClr>
        <a:buFont typeface="Arial" panose="020B0604020202020204" pitchFamily="34" charset="0"/>
        <a:buChar char="•"/>
        <a:defRPr sz="2595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39094" indent="-274273" algn="l" defTabSz="1081271" rtl="0" eaLnBrk="1" latinLnBrk="0" hangingPunct="1">
        <a:spcBef>
          <a:spcPts val="398"/>
        </a:spcBef>
        <a:buClr>
          <a:schemeClr val="tx2"/>
        </a:buClr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803913" indent="-264817" algn="l" defTabSz="1081271" rtl="0" eaLnBrk="1" latinLnBrk="0" hangingPunct="1">
        <a:spcBef>
          <a:spcPts val="398"/>
        </a:spcBef>
        <a:buClr>
          <a:schemeClr val="tx2"/>
        </a:buClr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4pPr>
      <a:lvl5pPr marL="1068728" indent="-264817" algn="l" defTabSz="1081271" rtl="0" eaLnBrk="1" latinLnBrk="0" hangingPunct="1">
        <a:spcBef>
          <a:spcPts val="398"/>
        </a:spcBef>
        <a:buClr>
          <a:schemeClr val="tx2"/>
        </a:buClr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5pPr>
      <a:lvl6pPr marL="2973499" indent="-270322" algn="l" defTabSz="10812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6pPr>
      <a:lvl7pPr marL="3514137" indent="-270322" algn="l" defTabSz="10812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7pPr>
      <a:lvl8pPr marL="4054775" indent="-270322" algn="l" defTabSz="10812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8pPr>
      <a:lvl9pPr marL="4595409" indent="-270322" algn="l" defTabSz="10812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3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1pPr>
      <a:lvl2pPr marL="540635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2pPr>
      <a:lvl3pPr marL="1081271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3pPr>
      <a:lvl4pPr marL="1621905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4pPr>
      <a:lvl5pPr marL="2162546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5pPr>
      <a:lvl6pPr marL="2703183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6pPr>
      <a:lvl7pPr marL="3243812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7pPr>
      <a:lvl8pPr marL="3784454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8pPr>
      <a:lvl9pPr marL="4325092" algn="l" defTabSz="1081271" rtl="0" eaLnBrk="1" latinLnBrk="0" hangingPunct="1">
        <a:defRPr sz="20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5" y="1589"/>
          <a:ext cx="158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5" y="1589"/>
                        <a:ext cx="158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4A88A1A-A9D3-4AF3-9738-684FB3D6B44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3200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481469" y="290513"/>
            <a:ext cx="9158368" cy="897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add title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481470" y="1643063"/>
            <a:ext cx="11135565" cy="4666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dtText Box 101 Id2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084888" y="0"/>
            <a:ext cx="1584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990000"/>
              </a:solidFill>
              <a:latin typeface="Arial" pitchFamily="34" charset="0"/>
              <a:ea typeface="ＭＳ Ｐゴシック" charset="-128"/>
            </a:endParaRPr>
          </a:p>
        </p:txBody>
      </p:sp>
      <p:cxnSp>
        <p:nvCxnSpPr>
          <p:cNvPr id="3072" name="cdtMasterTags_CL1 Id3072"/>
          <p:cNvCxnSpPr/>
          <p:nvPr>
            <p:custDataLst>
              <p:tags r:id="rId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Textplatzhalter 3"/>
          <p:cNvSpPr txBox="1">
            <a:spLocks/>
          </p:cNvSpPr>
          <p:nvPr/>
        </p:nvSpPr>
        <p:spPr>
          <a:xfrm>
            <a:off x="4879682" y="6393600"/>
            <a:ext cx="6737353" cy="1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800" b="1">
                <a:solidFill>
                  <a:schemeClr val="bg2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1pPr>
            <a:lvl2pPr marL="270000" indent="-27000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2pPr>
            <a:lvl3pPr marL="540000" indent="-27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3pPr>
            <a:lvl4pPr marL="810000" indent="-2700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4pPr>
            <a:lvl5pPr marL="1080000" indent="-270000" algn="l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EC6602"/>
              </a:buClr>
              <a:buChar char="•"/>
              <a:tabLst/>
              <a:defRPr sz="20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EC6602"/>
              </a:buClr>
            </a:pPr>
            <a:endParaRPr lang="en-US" sz="1000" b="0" kern="0">
              <a:solidFill>
                <a:srgbClr val="404040"/>
              </a:solidFill>
            </a:endParaRPr>
          </a:p>
        </p:txBody>
      </p:sp>
      <p:sp>
        <p:nvSpPr>
          <p:cNvPr id="6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47552" y="6340471"/>
            <a:ext cx="280886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5FA2C36E-DC06-4909-89EC-32EA0059C5E3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6" name="Textfeld 65"/>
          <p:cNvSpPr txBox="1"/>
          <p:nvPr userDrawn="1"/>
        </p:nvSpPr>
        <p:spPr>
          <a:xfrm>
            <a:off x="9217522" y="6505420"/>
            <a:ext cx="2410916" cy="15388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/>
              <a:t>Confidential</a:t>
            </a:r>
            <a:r>
              <a:rPr lang="en-US" sz="1000"/>
              <a:t> © Siemens Healthineers AG, 2019</a:t>
            </a:r>
            <a:endParaRPr lang="de-DE" sz="1000"/>
          </a:p>
          <a:p>
            <a:pPr algn="r"/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175194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89" r:id="rId1"/>
  </p:sldLayoutIdLst>
  <p:hf sldNum="0"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anose="020F0502020204030204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2000" b="1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1pPr>
      <a:lvl2pPr marL="270000" indent="-270000" algn="l" rtl="0" eaLnBrk="1" fontAlgn="base" hangingPunct="1">
        <a:lnSpc>
          <a:spcPct val="100000"/>
        </a:lnSpc>
        <a:spcBef>
          <a:spcPts val="1200"/>
        </a:spcBef>
        <a:spcAft>
          <a:spcPct val="0"/>
        </a:spcAft>
        <a:buClr>
          <a:srgbClr val="EC6602"/>
        </a:buClr>
        <a:buChar char="•"/>
        <a:tabLst/>
        <a:defRPr sz="20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2pPr>
      <a:lvl3pPr marL="540000" indent="-27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EC6602"/>
        </a:buClr>
        <a:buChar char="•"/>
        <a:tabLst/>
        <a:defRPr sz="20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3pPr>
      <a:lvl4pPr marL="810000" indent="-27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EC6602"/>
        </a:buClr>
        <a:buChar char="•"/>
        <a:tabLst/>
        <a:defRPr sz="20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4pPr>
      <a:lvl5pPr marL="1080000" indent="-27000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Clr>
          <a:srgbClr val="EC6602"/>
        </a:buClr>
        <a:buChar char="•"/>
        <a:tabLst/>
        <a:defRPr sz="2000" baseline="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2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96">
          <p15:clr>
            <a:srgbClr val="F26B43"/>
          </p15:clr>
        </p15:guide>
        <p15:guide id="5" pos="327">
          <p15:clr>
            <a:srgbClr val="F26B43"/>
          </p15:clr>
        </p15:guide>
        <p15:guide id="6" pos="7380">
          <p15:clr>
            <a:srgbClr val="F26B43"/>
          </p15:clr>
        </p15:guide>
        <p15:guide id="7" orient="horz" pos="3981">
          <p15:clr>
            <a:srgbClr val="F26B43"/>
          </p15:clr>
        </p15:guide>
        <p15:guide id="8" pos="3937">
          <p15:clr>
            <a:srgbClr val="F26B43"/>
          </p15:clr>
        </p15:guide>
        <p15:guide id="9" orient="horz" pos="1139">
          <p15:clr>
            <a:srgbClr val="F26B43"/>
          </p15:clr>
        </p15:guide>
        <p15:guide id="10" orient="horz" pos="3612">
          <p15:clr>
            <a:srgbClr val="F26B43"/>
          </p15:clr>
        </p15:guide>
        <p15:guide id="11" pos="377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F222229-37BF-4D9E-B4DC-6E88A5CD10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22848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44" imgH="443" progId="TCLayout.ActiveDocument.1">
                  <p:embed/>
                </p:oleObj>
              </mc:Choice>
              <mc:Fallback>
                <p:oleObj name="think-cell Slide" r:id="rId10" imgW="444" imgH="4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F222229-37BF-4D9E-B4DC-6E88A5CD10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C7B72F-28D0-44FD-8D7F-DCF7DC256737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2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2" y="1623602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/>
        </p:nvSpPr>
        <p:spPr>
          <a:xfrm>
            <a:off x="11347639" y="6400293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r" defTabSz="914213"/>
            <a:fld id="{6F82AF1F-8753-46F1-A314-2F45498EFC31}" type="slidenum">
              <a:rPr lang="de-DE" sz="1000" b="1" smtClean="0">
                <a:solidFill>
                  <a:srgbClr val="000000">
                    <a:lumMod val="100000"/>
                  </a:srgbClr>
                </a:solidFill>
              </a:rPr>
              <a:pPr algn="r" defTabSz="914213"/>
              <a:t>‹#›</a:t>
            </a:fld>
            <a:endParaRPr lang="de-DE" sz="1000" b="1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/>
        </p:nvSpPr>
        <p:spPr>
          <a:xfrm>
            <a:off x="8056566" y="6579292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213"/>
            <a:r>
              <a:rPr lang="tr-TR" sz="1000" dirty="0">
                <a:solidFill>
                  <a:srgbClr val="000000"/>
                </a:solidFill>
              </a:rPr>
              <a:t>C</a:t>
            </a:r>
            <a:r>
              <a:rPr lang="en-US" sz="1000" dirty="0" err="1">
                <a:solidFill>
                  <a:srgbClr val="000000"/>
                </a:solidFill>
              </a:rPr>
              <a:t>onfidential</a:t>
            </a:r>
            <a:r>
              <a:rPr lang="en-US" sz="1000" dirty="0">
                <a:solidFill>
                  <a:srgbClr val="000000"/>
                </a:solidFill>
              </a:rPr>
              <a:t> © Siemens Healthineers AG, 20</a:t>
            </a:r>
            <a:r>
              <a:rPr lang="cs-CZ" sz="1000" dirty="0">
                <a:solidFill>
                  <a:srgbClr val="000000"/>
                </a:solidFill>
              </a:rPr>
              <a:t>21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91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83" r:id="rId1"/>
    <p:sldLayoutId id="2147487384" r:id="rId2"/>
    <p:sldLayoutId id="2147487385" r:id="rId3"/>
    <p:sldLayoutId id="2147487386" r:id="rId4"/>
    <p:sldLayoutId id="2147487387" r:id="rId5"/>
    <p:sldLayoutId id="2147487390" r:id="rId6"/>
  </p:sldLayoutIdLst>
  <p:hf hdr="0" dt="0"/>
  <p:txStyles>
    <p:titleStyle>
      <a:lvl1pPr algn="l" defTabSz="914213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21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213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554" indent="-228554" algn="l" defTabSz="914213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7106" indent="-228554" algn="l" defTabSz="91421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5660" indent="-228554" algn="l" defTabSz="91421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14213" marR="0" indent="-228554" algn="l" defTabSz="91421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2766" indent="-228554" algn="l" defTabSz="914213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318" marR="0" indent="-228554" algn="l" defTabSz="914213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213" rtl="0" eaLnBrk="1" latinLnBrk="0" hangingPunct="1">
        <a:spcBef>
          <a:spcPts val="1598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6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3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8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26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32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38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45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51" algn="l" defTabSz="9142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pos="819">
          <p15:clr>
            <a:srgbClr val="F26B43"/>
          </p15:clr>
        </p15:guide>
        <p15:guide id="3" pos="930">
          <p15:clr>
            <a:srgbClr val="F26B43"/>
          </p15:clr>
        </p15:guide>
        <p15:guide id="4" pos="1410">
          <p15:clr>
            <a:srgbClr val="F26B43"/>
          </p15:clr>
        </p15:guide>
        <p15:guide id="5" pos="1524">
          <p15:clr>
            <a:srgbClr val="F26B43"/>
          </p15:clr>
        </p15:guide>
        <p15:guide id="6" pos="2003">
          <p15:clr>
            <a:srgbClr val="F26B43"/>
          </p15:clr>
        </p15:guide>
        <p15:guide id="7" pos="2117">
          <p15:clr>
            <a:srgbClr val="F26B43"/>
          </p15:clr>
        </p15:guide>
        <p15:guide id="8" pos="2592">
          <p15:clr>
            <a:srgbClr val="F26B43"/>
          </p15:clr>
        </p15:guide>
        <p15:guide id="9" pos="2705">
          <p15:clr>
            <a:srgbClr val="F26B43"/>
          </p15:clr>
        </p15:guide>
        <p15:guide id="10" pos="3185">
          <p15:clr>
            <a:srgbClr val="F26B43"/>
          </p15:clr>
        </p15:guide>
        <p15:guide id="11" pos="3299">
          <p15:clr>
            <a:srgbClr val="F26B43"/>
          </p15:clr>
        </p15:guide>
        <p15:guide id="12" pos="3776">
          <p15:clr>
            <a:srgbClr val="F26B43"/>
          </p15:clr>
        </p15:guide>
        <p15:guide id="13" pos="3890">
          <p15:clr>
            <a:srgbClr val="F26B43"/>
          </p15:clr>
        </p15:guide>
        <p15:guide id="14" pos="4368">
          <p15:clr>
            <a:srgbClr val="F26B43"/>
          </p15:clr>
        </p15:guide>
        <p15:guide id="15" pos="4482">
          <p15:clr>
            <a:srgbClr val="F26B43"/>
          </p15:clr>
        </p15:guide>
        <p15:guide id="16" pos="4959">
          <p15:clr>
            <a:srgbClr val="F26B43"/>
          </p15:clr>
        </p15:guide>
        <p15:guide id="17" pos="5075">
          <p15:clr>
            <a:srgbClr val="F26B43"/>
          </p15:clr>
        </p15:guide>
        <p15:guide id="18" pos="5552">
          <p15:clr>
            <a:srgbClr val="F26B43"/>
          </p15:clr>
        </p15:guide>
        <p15:guide id="19" pos="5666">
          <p15:clr>
            <a:srgbClr val="F26B43"/>
          </p15:clr>
        </p15:guide>
        <p15:guide id="20" pos="6143">
          <p15:clr>
            <a:srgbClr val="F26B43"/>
          </p15:clr>
        </p15:guide>
        <p15:guide id="21" pos="6254">
          <p15:clr>
            <a:srgbClr val="F26B43"/>
          </p15:clr>
        </p15:guide>
        <p15:guide id="22" pos="6734">
          <p15:clr>
            <a:srgbClr val="F26B43"/>
          </p15:clr>
        </p15:guide>
        <p15:guide id="23" pos="6846">
          <p15:clr>
            <a:srgbClr val="F26B43"/>
          </p15:clr>
        </p15:guide>
        <p15:guide id="24" pos="7325">
          <p15:clr>
            <a:srgbClr val="F26B43"/>
          </p15:clr>
        </p15:guide>
        <p15:guide id="26" orient="horz" pos="3902">
          <p15:clr>
            <a:srgbClr val="F26B43"/>
          </p15:clr>
        </p15:guide>
        <p15:guide id="27" orient="horz" pos="663">
          <p15:clr>
            <a:srgbClr val="F26B43"/>
          </p15:clr>
        </p15:guide>
        <p15:guide id="28" orient="horz" pos="10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291424" y="3255602"/>
            <a:ext cx="6776126" cy="2400452"/>
          </a:xfrm>
        </p:spPr>
        <p:txBody>
          <a:bodyPr/>
          <a:lstStyle/>
          <a:p>
            <a:r>
              <a:rPr lang="cs-CZ" sz="4000" dirty="0"/>
              <a:t>Veřejné zakázky v oblasti stavebních investic</a:t>
            </a:r>
          </a:p>
          <a:p>
            <a:endParaRPr lang="cs-CZ" sz="3200" dirty="0"/>
          </a:p>
          <a:p>
            <a:r>
              <a:rPr lang="cs-CZ" sz="3200" dirty="0"/>
              <a:t>Olomouc</a:t>
            </a:r>
          </a:p>
          <a:p>
            <a:endParaRPr lang="cs-CZ" sz="3200" dirty="0"/>
          </a:p>
          <a:p>
            <a:r>
              <a:rPr lang="cs-CZ" sz="3200" dirty="0"/>
              <a:t>Michal Čech</a:t>
            </a:r>
          </a:p>
          <a:p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1311584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6D8DF160-3A0A-4B10-B889-61A60D12B1E7}"/>
              </a:ext>
            </a:extLst>
          </p:cNvPr>
          <p:cNvSpPr txBox="1"/>
          <p:nvPr/>
        </p:nvSpPr>
        <p:spPr>
          <a:xfrm>
            <a:off x="539999" y="702527"/>
            <a:ext cx="11294949" cy="8275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cs-CZ" sz="2000" b="1" u="sng" dirty="0"/>
          </a:p>
          <a:p>
            <a:pPr algn="ctr"/>
            <a:r>
              <a:rPr lang="cs-CZ" sz="2000" dirty="0"/>
              <a:t>Velké modality – PET, MR, CT, </a:t>
            </a:r>
            <a:r>
              <a:rPr lang="cs-CZ" sz="2000" dirty="0" err="1"/>
              <a:t>angiolinka</a:t>
            </a:r>
            <a:r>
              <a:rPr lang="cs-CZ" sz="2000" dirty="0"/>
              <a:t>, lineární urychlovač, automatická laboratorní linka</a:t>
            </a:r>
          </a:p>
          <a:p>
            <a:pPr algn="l"/>
            <a:endParaRPr lang="cs-CZ" sz="2000" b="1" u="sng" dirty="0"/>
          </a:p>
          <a:p>
            <a:pPr algn="l"/>
            <a:endParaRPr lang="cs-CZ" sz="20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cs-CZ" sz="20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cs-CZ" sz="2000" b="1" u="sng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cs-CZ" dirty="0"/>
          </a:p>
          <a:p>
            <a:pPr algn="l"/>
            <a:endParaRPr lang="cs-CZ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BDAE7E5F-828B-4BAD-803F-89345B63F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30003"/>
            <a:ext cx="9508875" cy="507487"/>
          </a:xfrm>
        </p:spPr>
        <p:txBody>
          <a:bodyPr/>
          <a:lstStyle/>
          <a:p>
            <a:r>
              <a:rPr lang="cs-CZ" dirty="0"/>
              <a:t>Veřejná zakázka</a:t>
            </a:r>
            <a:endParaRPr lang="en-US" dirty="0">
              <a:solidFill>
                <a:srgbClr val="009A38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38C220A-8D4A-46F8-B7D6-43984579A912}"/>
              </a:ext>
            </a:extLst>
          </p:cNvPr>
          <p:cNvSpPr txBox="1"/>
          <p:nvPr/>
        </p:nvSpPr>
        <p:spPr>
          <a:xfrm>
            <a:off x="814812" y="2516861"/>
            <a:ext cx="4761972" cy="1285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cs-CZ" sz="4000" b="1" u="sng" dirty="0"/>
              <a:t>Pouze dodávka techniky</a:t>
            </a:r>
          </a:p>
          <a:p>
            <a:pPr algn="l"/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7034988-81ED-47F7-BA96-1315FF01BA3A}"/>
              </a:ext>
            </a:extLst>
          </p:cNvPr>
          <p:cNvSpPr txBox="1"/>
          <p:nvPr/>
        </p:nvSpPr>
        <p:spPr>
          <a:xfrm>
            <a:off x="6294226" y="2516862"/>
            <a:ext cx="5241957" cy="13851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cs-CZ" sz="4000" b="1" u="sng" dirty="0"/>
              <a:t>Dodávka techniky a stavb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cs-CZ" sz="4000" dirty="0"/>
          </a:p>
          <a:p>
            <a:pPr algn="l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85186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6D8DF160-3A0A-4B10-B889-61A60D12B1E7}"/>
              </a:ext>
            </a:extLst>
          </p:cNvPr>
          <p:cNvSpPr txBox="1"/>
          <p:nvPr/>
        </p:nvSpPr>
        <p:spPr>
          <a:xfrm>
            <a:off x="539999" y="1238249"/>
            <a:ext cx="11294949" cy="48280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800" dirty="0"/>
              <a:t>Poskytnutí technologického projektu a dalších podkladů zadavateli</a:t>
            </a:r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800" dirty="0"/>
              <a:t>Kontrola stavební připravenosti</a:t>
            </a:r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800" dirty="0"/>
              <a:t>Časový plán instalace poskytnutý zadavateli</a:t>
            </a:r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800" dirty="0"/>
              <a:t>Příprava prostor je na zadavateli</a:t>
            </a:r>
          </a:p>
          <a:p>
            <a:pPr algn="l"/>
            <a:endParaRPr lang="cs-CZ" sz="2800" dirty="0"/>
          </a:p>
          <a:p>
            <a:pPr algn="l"/>
            <a:endParaRPr lang="cs-CZ" sz="2800" dirty="0"/>
          </a:p>
          <a:p>
            <a:pPr marL="342900" indent="-342900" algn="l">
              <a:buFont typeface="Calibri" panose="020F0502020204030204" pitchFamily="34" charset="0"/>
              <a:buChar char="-"/>
            </a:pPr>
            <a:r>
              <a:rPr lang="cs-CZ" sz="2800" dirty="0"/>
              <a:t>Závislost</a:t>
            </a:r>
          </a:p>
          <a:p>
            <a:pPr marL="342900" indent="-342900" algn="l">
              <a:buFont typeface="Calibri" panose="020F0502020204030204" pitchFamily="34" charset="0"/>
              <a:buChar char="-"/>
            </a:pPr>
            <a:r>
              <a:rPr lang="cs-CZ" sz="2800" dirty="0"/>
              <a:t>V případě posunu instalace vlivem zpoždění stavby komplikace</a:t>
            </a:r>
          </a:p>
          <a:p>
            <a:pPr algn="l"/>
            <a:endParaRPr lang="cs-CZ" sz="28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b="1" u="sng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b="1" u="sng" dirty="0"/>
          </a:p>
          <a:p>
            <a:pPr marL="285750" indent="-285750" algn="l">
              <a:buFont typeface="Calibri" panose="020F0502020204030204" pitchFamily="34" charset="0"/>
              <a:buChar char="+"/>
            </a:pPr>
            <a:endParaRPr lang="cs-CZ" dirty="0"/>
          </a:p>
          <a:p>
            <a:pPr marL="285750" indent="-285750" algn="l">
              <a:buFont typeface="Calibri" panose="020F0502020204030204" pitchFamily="34" charset="0"/>
              <a:buChar char="+"/>
            </a:pPr>
            <a:endParaRPr lang="cs-CZ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BDAE7E5F-828B-4BAD-803F-89345B63F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30003"/>
            <a:ext cx="9508875" cy="507487"/>
          </a:xfrm>
        </p:spPr>
        <p:txBody>
          <a:bodyPr/>
          <a:lstStyle/>
          <a:p>
            <a:r>
              <a:rPr lang="cs-CZ" dirty="0"/>
              <a:t>Dodávka techniky</a:t>
            </a:r>
            <a:endParaRPr lang="en-US" dirty="0">
              <a:solidFill>
                <a:srgbClr val="009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835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6D8DF160-3A0A-4B10-B889-61A60D12B1E7}"/>
              </a:ext>
            </a:extLst>
          </p:cNvPr>
          <p:cNvSpPr txBox="1"/>
          <p:nvPr/>
        </p:nvSpPr>
        <p:spPr>
          <a:xfrm>
            <a:off x="539999" y="1028699"/>
            <a:ext cx="11294949" cy="50375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400" dirty="0"/>
              <a:t>Možnost si zkoordinovat celý projekt</a:t>
            </a:r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400" dirty="0"/>
              <a:t>Vlastní (vyzkoušený) subdodavatel</a:t>
            </a:r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400" dirty="0"/>
              <a:t>Časový plán instalace poskytuje určitou flexibilitu (samozřejmě v rámci možností VZ)</a:t>
            </a:r>
          </a:p>
          <a:p>
            <a:pPr marL="342900" indent="-342900" algn="l">
              <a:buFont typeface="Calibri" panose="020F0502020204030204" pitchFamily="34" charset="0"/>
              <a:buChar char="+"/>
            </a:pPr>
            <a:r>
              <a:rPr lang="cs-CZ" sz="2400" dirty="0"/>
              <a:t>Možnost „najmout si“ hlavního dodavatele</a:t>
            </a:r>
          </a:p>
          <a:p>
            <a:pPr algn="l"/>
            <a:endParaRPr lang="cs-CZ" sz="2400" dirty="0"/>
          </a:p>
          <a:p>
            <a:pPr algn="l"/>
            <a:endParaRPr lang="cs-CZ" sz="2400" dirty="0"/>
          </a:p>
          <a:p>
            <a:pPr marL="342900" indent="-342900" algn="l">
              <a:buFont typeface="Calibri" panose="020F0502020204030204" pitchFamily="34" charset="0"/>
              <a:buChar char="-"/>
            </a:pPr>
            <a:r>
              <a:rPr lang="cs-CZ" sz="2400" dirty="0"/>
              <a:t>Zohlednit náklady na stavbu v nabídce (delší časový horizont dodávky a dynamika změny cen)</a:t>
            </a:r>
          </a:p>
          <a:p>
            <a:pPr marL="342900" indent="-342900" algn="l">
              <a:buFont typeface="Calibri" panose="020F0502020204030204" pitchFamily="34" charset="0"/>
              <a:buChar char="-"/>
            </a:pPr>
            <a:r>
              <a:rPr lang="cs-CZ" sz="2400" dirty="0"/>
              <a:t>V případě větší stavby (pavilon, rekonstrukce oddělení…) může být další stavební firma „rušivý“ prvek</a:t>
            </a:r>
          </a:p>
          <a:p>
            <a:pPr marL="342900" indent="-342900" algn="l">
              <a:buFont typeface="Calibri" panose="020F0502020204030204" pitchFamily="34" charset="0"/>
              <a:buChar char="-"/>
            </a:pPr>
            <a:r>
              <a:rPr lang="cs-CZ" sz="2400" dirty="0"/>
              <a:t>Kde je hranice „našeho“? (v případě havárie….)</a:t>
            </a:r>
          </a:p>
          <a:p>
            <a:pPr marL="342900" indent="-342900" algn="l">
              <a:buFont typeface="Calibri" panose="020F0502020204030204" pitchFamily="34" charset="0"/>
              <a:buChar char="-"/>
            </a:pPr>
            <a:r>
              <a:rPr lang="cs-CZ" sz="2400" dirty="0"/>
              <a:t>Možné vyšší náklady přenesené na zadavatele v případě „najatého“ hlavního dodavatele provádějícího stavbu/rekonstrukci</a:t>
            </a:r>
          </a:p>
          <a:p>
            <a:pPr marL="342900" indent="-342900" algn="l">
              <a:buFont typeface="Calibri" panose="020F0502020204030204" pitchFamily="34" charset="0"/>
              <a:buChar char="-"/>
            </a:pPr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-"/>
            </a:pPr>
            <a:endParaRPr lang="cs-CZ" sz="2000" dirty="0"/>
          </a:p>
          <a:p>
            <a:pPr algn="l"/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b="1" u="sng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b="1" u="sng" dirty="0"/>
          </a:p>
          <a:p>
            <a:pPr marL="285750" indent="-285750" algn="l">
              <a:buFont typeface="Calibri" panose="020F0502020204030204" pitchFamily="34" charset="0"/>
              <a:buChar char="+"/>
            </a:pPr>
            <a:endParaRPr lang="cs-CZ" dirty="0"/>
          </a:p>
          <a:p>
            <a:pPr marL="285750" indent="-285750" algn="l">
              <a:buFont typeface="Calibri" panose="020F0502020204030204" pitchFamily="34" charset="0"/>
              <a:buChar char="+"/>
            </a:pPr>
            <a:endParaRPr lang="cs-CZ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BDAE7E5F-828B-4BAD-803F-89345B63F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30003"/>
            <a:ext cx="9508875" cy="507487"/>
          </a:xfrm>
        </p:spPr>
        <p:txBody>
          <a:bodyPr/>
          <a:lstStyle/>
          <a:p>
            <a:r>
              <a:rPr lang="cs-CZ" dirty="0"/>
              <a:t>Dodávka techniky a stavby</a:t>
            </a:r>
            <a:endParaRPr lang="en-US" dirty="0">
              <a:solidFill>
                <a:srgbClr val="009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82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6D8DF160-3A0A-4B10-B889-61A60D12B1E7}"/>
              </a:ext>
            </a:extLst>
          </p:cNvPr>
          <p:cNvSpPr txBox="1"/>
          <p:nvPr/>
        </p:nvSpPr>
        <p:spPr>
          <a:xfrm>
            <a:off x="539999" y="702527"/>
            <a:ext cx="11294949" cy="53637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2000" dirty="0"/>
              <a:t>Určitě řešení existuj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2000" dirty="0"/>
              <a:t>Otevřená diskuze</a:t>
            </a:r>
          </a:p>
          <a:p>
            <a:pPr algn="l"/>
            <a:endParaRPr lang="cs-CZ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3200" dirty="0"/>
              <a:t>Větší využití PTK – </a:t>
            </a:r>
            <a:r>
              <a:rPr lang="cs-CZ" sz="2800" dirty="0"/>
              <a:t>legální nástroj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2400" dirty="0"/>
              <a:t>Prohlídka pracoviště v rámci PTK (uchazeči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2400" dirty="0"/>
              <a:t>Plány pracoviště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2400" dirty="0"/>
              <a:t>Statický posudek v rané fázi	objektivní zjištění nosností</a:t>
            </a:r>
          </a:p>
          <a:p>
            <a:pPr algn="l"/>
            <a:r>
              <a:rPr lang="cs-CZ" sz="2400" dirty="0"/>
              <a:t>					náklady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cs-CZ" sz="2400" dirty="0"/>
              <a:t>Výkaz výměr	přesné položky</a:t>
            </a:r>
          </a:p>
          <a:p>
            <a:pPr algn="l"/>
            <a:r>
              <a:rPr lang="cs-CZ" sz="2400" dirty="0"/>
              <a:t>			ale co v případě specifických požadavků?</a:t>
            </a:r>
          </a:p>
          <a:p>
            <a:pPr marL="342900" indent="-342900" algn="l">
              <a:buFont typeface="Calibri" panose="020F0502020204030204" pitchFamily="34" charset="0"/>
              <a:buChar char="-"/>
            </a:pPr>
            <a:endParaRPr lang="cs-CZ" sz="2000" dirty="0"/>
          </a:p>
          <a:p>
            <a:pPr algn="l"/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b="1" u="sng" dirty="0"/>
          </a:p>
          <a:p>
            <a:pPr marL="342900" indent="-342900" algn="l">
              <a:buFont typeface="Calibri" panose="020F0502020204030204" pitchFamily="34" charset="0"/>
              <a:buChar char="+"/>
            </a:pPr>
            <a:endParaRPr lang="cs-CZ" sz="2000" b="1" u="sng" dirty="0"/>
          </a:p>
          <a:p>
            <a:pPr marL="285750" indent="-285750" algn="l">
              <a:buFont typeface="Calibri" panose="020F0502020204030204" pitchFamily="34" charset="0"/>
              <a:buChar char="+"/>
            </a:pPr>
            <a:endParaRPr lang="cs-CZ" dirty="0"/>
          </a:p>
          <a:p>
            <a:pPr marL="285750" indent="-285750" algn="l">
              <a:buFont typeface="Calibri" panose="020F0502020204030204" pitchFamily="34" charset="0"/>
              <a:buChar char="+"/>
            </a:pPr>
            <a:endParaRPr lang="cs-CZ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BDAE7E5F-828B-4BAD-803F-89345B63F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30003"/>
            <a:ext cx="9508875" cy="507487"/>
          </a:xfrm>
        </p:spPr>
        <p:txBody>
          <a:bodyPr/>
          <a:lstStyle/>
          <a:p>
            <a:r>
              <a:rPr lang="cs-CZ" dirty="0"/>
              <a:t>Co s tím?</a:t>
            </a:r>
            <a:endParaRPr lang="en-US" dirty="0">
              <a:solidFill>
                <a:srgbClr val="009A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5903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1081999" y="2476424"/>
            <a:ext cx="6606525" cy="2400452"/>
          </a:xfrm>
        </p:spPr>
        <p:txBody>
          <a:bodyPr/>
          <a:lstStyle/>
          <a:p>
            <a:r>
              <a:rPr lang="cs-CZ" sz="8000" dirty="0"/>
              <a:t>Děkuji za pozornost</a:t>
            </a:r>
          </a:p>
          <a:p>
            <a:endParaRPr lang="de-DE" sz="3200" dirty="0"/>
          </a:p>
        </p:txBody>
      </p:sp>
    </p:spTree>
    <p:extLst>
      <p:ext uri="{BB962C8B-B14F-4D97-AF65-F5344CB8AC3E}">
        <p14:creationId xmlns:p14="http://schemas.microsoft.com/office/powerpoint/2010/main" val="3734402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′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70999999999999996447E+00&quot;&gt;&lt;m_msothmcolidx val=&quot;0&quot;/&gt;&lt;m_rgb r=&quot;46&quot; g=&quot;8F&quot; b=&quot;E1&quot;/&gt;&lt;m_nBrightness val=&quot;0&quot;/&gt;&lt;/elem&gt;&lt;elem m_fUsage=&quot;7.29000000000000092371E-01&quot;&gt;&lt;m_msothmcolidx val=&quot;0&quot;/&gt;&lt;m_rgb r=&quot;F2&quot; g=&quot;79&quot; b=&quot;2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oMYqYXR8aeqPnIH_dm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l6g7wFDtZdfKdTR4MQ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U.jBfJKHs3Zqss0IAh0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gzsKxsAYAoV4YbLcy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WAskeCQcGFzdKxj2vZ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3_SH_PPT_Template_16x9_Confidential-copyright">
  <a:themeElements>
    <a:clrScheme name="SH_colors">
      <a:dk1>
        <a:srgbClr val="FFFFFF"/>
      </a:dk1>
      <a:lt1>
        <a:srgbClr val="000000"/>
      </a:lt1>
      <a:dk2>
        <a:srgbClr val="D5D2D0"/>
      </a:dk2>
      <a:lt2>
        <a:srgbClr val="EC6602"/>
      </a:lt2>
      <a:accent1>
        <a:srgbClr val="EC6602"/>
      </a:accent1>
      <a:accent2>
        <a:srgbClr val="910041"/>
      </a:accent2>
      <a:accent3>
        <a:srgbClr val="009999"/>
      </a:accent3>
      <a:accent4>
        <a:srgbClr val="F9B591"/>
      </a:accent4>
      <a:accent5>
        <a:srgbClr val="BE82A5"/>
      </a:accent5>
      <a:accent6>
        <a:srgbClr val="87D2D2"/>
      </a:accent6>
      <a:hlink>
        <a:srgbClr val="EC6602"/>
      </a:hlink>
      <a:folHlink>
        <a:srgbClr val="910041"/>
      </a:folHlink>
    </a:clrScheme>
    <a:fontScheme name="SH_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DDCB"/>
        </a:solidFill>
        <a:ln w="9525">
          <a:solidFill>
            <a:srgbClr val="FDDDCB"/>
          </a:solidFill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90000" tIns="46800" rIns="90000" bIns="46800" rtlCol="0">
        <a:spAutoFit/>
      </a:bodyPr>
      <a:lstStyle>
        <a:defPPr>
          <a:defRPr sz="1400" dirty="0" err="1" smtClean="0"/>
        </a:defPPr>
      </a:lstStyle>
    </a:txDef>
  </a:objectDefaults>
  <a:extraClrSchemeLst/>
  <a:custClrLst>
    <a:custClr name="Healthy Orange 100%">
      <a:srgbClr val="EC6602"/>
    </a:custClr>
    <a:custClr name="Blushing Berry 100%">
      <a:srgbClr val="910041"/>
    </a:custClr>
    <a:custClr name="Siemens Petrol 100%">
      <a:srgbClr val="009999"/>
    </a:custClr>
    <a:custClr name="Strong Slate 100%">
      <a:srgbClr val="2D1E1C"/>
    </a:custClr>
    <a:custClr name="SH Yellow">
      <a:srgbClr val="FFDD00"/>
    </a:custClr>
    <a:custClr name="SH Red">
      <a:srgbClr val="E4001F"/>
    </a:custClr>
    <a:custClr name="SH Purple">
      <a:srgbClr val="5B457F"/>
    </a:custClr>
    <a:custClr name="SH Blue">
      <a:srgbClr val="0095DB"/>
    </a:custClr>
    <a:custClr name="SH Green">
      <a:srgbClr val="009D3C"/>
    </a:custClr>
    <a:custClr name="White">
      <a:srgbClr val="FFFFFF"/>
    </a:custClr>
    <a:custClr name="Healthy Orange 75%">
      <a:srgbClr val="F29257"/>
    </a:custClr>
    <a:custClr name="Blushing Berry 75%">
      <a:srgbClr val="B9507D"/>
    </a:custClr>
    <a:custClr name="Siemens Petrol 75%">
      <a:srgbClr val="00B9B9"/>
    </a:custClr>
    <a:custClr name="Strong Slate 75%">
      <a:srgbClr val="6E686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50%">
      <a:srgbClr val="F9B591"/>
    </a:custClr>
    <a:custClr name="Blushing Berry 50%">
      <a:srgbClr val="BE82A5"/>
    </a:custClr>
    <a:custClr name="Siemens Petrol 50%">
      <a:srgbClr val="87D2D2"/>
    </a:custClr>
    <a:custClr name="Strong Slate 50%">
      <a:srgbClr val="A6A2A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Healthy Orange 25%">
      <a:srgbClr val="FDDDCB"/>
    </a:custClr>
    <a:custClr name="Blushing Berry 25%">
      <a:srgbClr val="E1C8DC"/>
    </a:custClr>
    <a:custClr name="Siemens Petrol 25%">
      <a:srgbClr val="C8E6E6"/>
    </a:custClr>
    <a:custClr name="Strong Slate 25%">
      <a:srgbClr val="D5D2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Blank.potx" id="{19A1AE6C-9437-4AB0-A84C-AB0F8FDD2D6E}" vid="{D0C375C3-B0F9-4D75-8A42-77FA30FB4D65}"/>
    </a:ext>
  </a:extLst>
</a:theme>
</file>

<file path=ppt/theme/theme2.xml><?xml version="1.0" encoding="utf-8"?>
<a:theme xmlns:a="http://schemas.openxmlformats.org/drawingml/2006/main" name="SH_PPT_Template_16x9_V02_Calibri_BetaVersion">
  <a:themeElements>
    <a:clrScheme name="Siemens">
      <a:dk1>
        <a:srgbClr val="000000"/>
      </a:dk1>
      <a:lt1>
        <a:srgbClr val="FFFFFF"/>
      </a:lt1>
      <a:dk2>
        <a:srgbClr val="291D1E"/>
      </a:dk2>
      <a:lt2>
        <a:srgbClr val="5F5656"/>
      </a:lt2>
      <a:accent1>
        <a:srgbClr val="EC6602"/>
      </a:accent1>
      <a:accent2>
        <a:srgbClr val="009999"/>
      </a:accent2>
      <a:accent3>
        <a:srgbClr val="830040"/>
      </a:accent3>
      <a:accent4>
        <a:srgbClr val="FAD9C0"/>
      </a:accent4>
      <a:accent5>
        <a:srgbClr val="BFE6E6"/>
      </a:accent5>
      <a:accent6>
        <a:srgbClr val="E0C0CF"/>
      </a:accent6>
      <a:hlink>
        <a:srgbClr val="009999"/>
      </a:hlink>
      <a:folHlink>
        <a:srgbClr val="EC6602"/>
      </a:folHlink>
    </a:clrScheme>
    <a:fontScheme name="Siemen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solidFill>
            <a:schemeClr val="accent1"/>
          </a:solidFill>
        </a:ln>
        <a:effectLst/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2000" smtClean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  <a:ln>
          <a:solidFill>
            <a:schemeClr val="accent1"/>
          </a:solidFill>
        </a:ln>
      </a:spPr>
      <a:bodyPr wrap="square" lIns="108000" tIns="108000" rIns="108000" bIns="108000" rtlCol="0">
        <a:spAutoFit/>
      </a:bodyPr>
      <a:lstStyle>
        <a:defPPr>
          <a:lnSpc>
            <a:spcPct val="90000"/>
          </a:lnSpc>
          <a:spcBef>
            <a:spcPts val="0"/>
          </a:spcBef>
          <a:spcAft>
            <a:spcPts val="600"/>
          </a:spcAft>
          <a:defRPr sz="2000" smtClean="0">
            <a:solidFill>
              <a:schemeClr val="tx1"/>
            </a:solidFill>
            <a:latin typeface="Calibri" panose="020F0502020204030204" pitchFamily="34" charset="0"/>
          </a:defRPr>
        </a:defPPr>
      </a:lstStyle>
    </a:txDef>
  </a:objectDefaults>
  <a:extraClrSchemeLst/>
  <a:custClrLst>
    <a:custClr name="Siemens Snow">
      <a:srgbClr val="FFFFFF"/>
    </a:custClr>
    <a:custClr name="Siemens Natural Yellow (dark)">
      <a:srgbClr val="EB780A"/>
    </a:custClr>
    <a:custClr name="Siemens Yellow (light)">
      <a:srgbClr val="FFB900"/>
    </a:custClr>
    <a:custClr name="Siemens Stone (1)">
      <a:srgbClr val="506473"/>
    </a:custClr>
    <a:custClr name="Siemens Sand (1)">
      <a:srgbClr val="827F64"/>
    </a:custClr>
    <a:custClr name="Siemens Natural Gray (1)">
      <a:srgbClr val="0F1923"/>
    </a:custClr>
    <a:custClr name="Siemens Natural Yellow (1)">
      <a:srgbClr val="7D2D1E"/>
    </a:custClr>
    <a:custClr name="Siemens Natural Red (1)">
      <a:srgbClr val="411432"/>
    </a:custClr>
    <a:custClr name="Siemens Natural Blue (1)">
      <a:srgbClr val="004664"/>
    </a:custClr>
    <a:custClr name="Siemens Natural Green (1)">
      <a:srgbClr val="465F19"/>
    </a:custClr>
    <a:custClr name="True Black">
      <a:srgbClr val="000000"/>
    </a:custClr>
    <a:custClr name="Siemens Natural Red (dark)">
      <a:srgbClr val="641946"/>
    </a:custClr>
    <a:custClr name="Siemens Red Light">
      <a:srgbClr val="AF235F"/>
    </a:custClr>
    <a:custClr name="Siemens Stone (2)">
      <a:srgbClr val="879BAA"/>
    </a:custClr>
    <a:custClr name="Siemens Sand (2)">
      <a:srgbClr val="AAAA96"/>
    </a:custClr>
    <a:custClr name="Siemens Natural Gray (2)">
      <a:srgbClr val="323C46"/>
    </a:custClr>
    <a:custClr name="Siemens Natural Yellow (2)">
      <a:srgbClr val="C85A1E"/>
    </a:custClr>
    <a:custClr name="Siemens Natural Red (2)">
      <a:srgbClr val="641946"/>
    </a:custClr>
    <a:custClr name="Siemens Natural Blue (2)">
      <a:srgbClr val="006487"/>
    </a:custClr>
    <a:custClr name="Siemens Natural Green (2)">
      <a:srgbClr val="647D2D"/>
    </a:custClr>
    <a:custClr name="Siemens Stone (100%)">
      <a:srgbClr val="879BAA"/>
    </a:custClr>
    <a:custClr name="Siemens Natural Blue (dark)">
      <a:srgbClr val="006487"/>
    </a:custClr>
    <a:custClr name="Siemens Natural Blue (light)">
      <a:srgbClr val="55A0B9"/>
    </a:custClr>
    <a:custClr name="Siemens Stone (3)">
      <a:srgbClr val="9BAFBE"/>
    </a:custClr>
    <a:custClr name="Siemens Sand (3)">
      <a:srgbClr val="C8C8B9"/>
    </a:custClr>
    <a:custClr name="Siemens Natural Gray (3)">
      <a:srgbClr val="505A64"/>
    </a:custClr>
    <a:custClr name="Siemens Natural Yellow (3)">
      <a:srgbClr val="EB780A"/>
    </a:custClr>
    <a:custClr name="Siemens Natural Red (3)">
      <a:srgbClr val="871E50"/>
    </a:custClr>
    <a:custClr name="Siemens Natural Blue (3)">
      <a:srgbClr val="2882A0"/>
    </a:custClr>
    <a:custClr name="Siemens Natural Green (3)">
      <a:srgbClr val="879628"/>
    </a:custClr>
    <a:custClr name="Siemens Stone (30%)">
      <a:srgbClr val="BECDD7"/>
    </a:custClr>
    <a:custClr name="Siemens Natural Green">
      <a:srgbClr val="647D2D"/>
    </a:custClr>
    <a:custClr name="Siemens Natural Green (light)">
      <a:srgbClr val="AAB414"/>
    </a:custClr>
    <a:custClr name="Siemens Stone (4)">
      <a:srgbClr val="BECDD7"/>
    </a:custClr>
    <a:custClr name="Siemens Sand (4)">
      <a:srgbClr val="D7D7CD"/>
    </a:custClr>
    <a:custClr name="Siemens Natural Gray (4)">
      <a:srgbClr val="7D8791"/>
    </a:custClr>
    <a:custClr name="Siemens Natural Yellow (4)">
      <a:srgbClr val="FFB900"/>
    </a:custClr>
    <a:custClr name="Siemens Natural Red (4)">
      <a:srgbClr val="AF235F"/>
    </a:custClr>
    <a:custClr name="Siemens Natural Blue (4)">
      <a:srgbClr val="55A0B9"/>
    </a:custClr>
    <a:custClr name="Siemens Natural Green (4)">
      <a:srgbClr val="AAB414"/>
    </a:custClr>
    <a:custClr name="Siemens Sand (30%)">
      <a:srgbClr val="D7D7CD"/>
    </a:custClr>
    <a:custClr name="Siemens Natural Gray (dark)">
      <a:srgbClr val="0F1923"/>
    </a:custClr>
    <a:custClr name="Siemens Natural Gray (light)">
      <a:srgbClr val="505A64"/>
    </a:custClr>
    <a:custClr name="Siemens Stone (5)">
      <a:srgbClr val="DFE6ED"/>
    </a:custClr>
    <a:custClr name="Siemens Sand (5)">
      <a:srgbClr val="EBEBE3"/>
    </a:custClr>
    <a:custClr name="Siemens Natural Gray (5)">
      <a:srgbClr val="AFB9C3"/>
    </a:custClr>
    <a:custClr name="Siemens Natural Yellow (5)">
      <a:srgbClr val="FFE178"/>
    </a:custClr>
    <a:custClr name="Siemens Natural Red (5)">
      <a:srgbClr val="D7698C"/>
    </a:custClr>
    <a:custClr name="Siemens Natural Blue(5)">
      <a:srgbClr val="8CC3D2"/>
    </a:custClr>
    <a:custClr name="Siemens Natural Green (5)">
      <a:srgbClr val="D2D741"/>
    </a:custClr>
  </a:custClrLst>
  <a:extLst>
    <a:ext uri="{05A4C25C-085E-4340-85A3-A5531E510DB2}">
      <thm15:themeFamily xmlns:thm15="http://schemas.microsoft.com/office/thememl/2012/main" name="Siemens_Healthineers _16x9_v2.2.11E.potx" id="{CCBE896F-A0E9-4A9E-AF3C-FB450D2ECB7C}" vid="{174A5D4E-7CCC-4CF6-B124-7A0181D51A21}"/>
    </a:ext>
  </a:extLst>
</a:theme>
</file>

<file path=ppt/theme/theme3.xml><?xml version="1.0" encoding="utf-8"?>
<a:theme xmlns:a="http://schemas.openxmlformats.org/drawingml/2006/main" name="SH-PPT-basic_template_16x9_V2018-09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363636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H-PPT-basic_template_16x9_V2018-09_Calibri.potx" id="{C97C1DFD-B5C7-42A8-90FB-FB399F56B375}" vid="{60DBD491-D2C6-4EE0-8BB7-B0B9B3415CD3}"/>
    </a:ext>
  </a:ext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Free Content</Name>
  <PpLayout>11</PpLayout>
  <Index>9</Index>
</p4ppTag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C481E21C80304989ECF63BD0E8BEF1" ma:contentTypeVersion="13" ma:contentTypeDescription="Create a new document." ma:contentTypeScope="" ma:versionID="0ed5dd749573a2a372b7959f8db8d949">
  <xsd:schema xmlns:xsd="http://www.w3.org/2001/XMLSchema" xmlns:xs="http://www.w3.org/2001/XMLSchema" xmlns:p="http://schemas.microsoft.com/office/2006/metadata/properties" xmlns:ns3="7b38b6b6-37f0-43b3-a77e-1f4e9a702aad" xmlns:ns4="6e8410e4-4e7a-4bc0-a27e-598ea00bbbbc" targetNamespace="http://schemas.microsoft.com/office/2006/metadata/properties" ma:root="true" ma:fieldsID="2d2e1b7e8043d83b4ea99b182917174a" ns3:_="" ns4:_="">
    <xsd:import namespace="7b38b6b6-37f0-43b3-a77e-1f4e9a702aad"/>
    <xsd:import namespace="6e8410e4-4e7a-4bc0-a27e-598ea00bbbb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38b6b6-37f0-43b3-a77e-1f4e9a702a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8410e4-4e7a-4bc0-a27e-598ea00bbbb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4ppTags>
  <Name>Free Content</Name>
  <PpLayout>11</PpLayout>
  <Index>9</Index>
</p4ppTags>
</file>

<file path=customXml/item5.xml><?xml version="1.0" encoding="utf-8"?>
<p4ppTags>
  <Name>Free Content</Name>
  <PpLayout>11</PpLayout>
  <Index>9</Index>
</p4ppTags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4ppTags>
  <Name>Free Content</Name>
  <PpLayout>11</PpLayout>
  <Index>9</Index>
</p4ppTag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1A0B2CB-497B-451C-AACF-5E62B133EFB5}">
  <ds:schemaRefs/>
</ds:datastoreItem>
</file>

<file path=customXml/itemProps2.xml><?xml version="1.0" encoding="utf-8"?>
<ds:datastoreItem xmlns:ds="http://schemas.openxmlformats.org/officeDocument/2006/customXml" ds:itemID="{741C80AD-27BE-4036-B0E2-69F878280A3B}">
  <ds:schemaRefs/>
</ds:datastoreItem>
</file>

<file path=customXml/itemProps3.xml><?xml version="1.0" encoding="utf-8"?>
<ds:datastoreItem xmlns:ds="http://schemas.openxmlformats.org/officeDocument/2006/customXml" ds:itemID="{987CCFB1-7BFC-4DFC-9C61-A77BE788B1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38b6b6-37f0-43b3-a77e-1f4e9a702aad"/>
    <ds:schemaRef ds:uri="6e8410e4-4e7a-4bc0-a27e-598ea00bbbb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85E1437-9D7A-4018-99D1-919A900284CD}">
  <ds:schemaRefs/>
</ds:datastoreItem>
</file>

<file path=customXml/itemProps5.xml><?xml version="1.0" encoding="utf-8"?>
<ds:datastoreItem xmlns:ds="http://schemas.openxmlformats.org/officeDocument/2006/customXml" ds:itemID="{1999FCCC-A56E-4B2E-8D56-F491B0119A1D}">
  <ds:schemaRefs/>
</ds:datastoreItem>
</file>

<file path=customXml/itemProps6.xml><?xml version="1.0" encoding="utf-8"?>
<ds:datastoreItem xmlns:ds="http://schemas.openxmlformats.org/officeDocument/2006/customXml" ds:itemID="{69E7F6E4-AEA4-4D8D-93CE-CF4C93DF8CDB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64541AD8-35F4-4703-8B95-629676710024}">
  <ds:schemaRefs/>
</ds:datastoreItem>
</file>

<file path=customXml/itemProps8.xml><?xml version="1.0" encoding="utf-8"?>
<ds:datastoreItem xmlns:ds="http://schemas.openxmlformats.org/officeDocument/2006/customXml" ds:itemID="{8445C4A5-13AF-4407-BD92-D0E16A9E4E4A}">
  <ds:schemaRefs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7b38b6b6-37f0-43b3-a77e-1f4e9a702aad"/>
    <ds:schemaRef ds:uri="http://schemas.openxmlformats.org/package/2006/metadata/core-properties"/>
    <ds:schemaRef ds:uri="http://purl.org/dc/terms/"/>
    <ds:schemaRef ds:uri="6e8410e4-4e7a-4bc0-a27e-598ea00bbbbc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8</TotalTime>
  <Words>224</Words>
  <Application>Microsoft Office PowerPoint</Application>
  <PresentationFormat>Vlastní</PresentationFormat>
  <Paragraphs>64</Paragraphs>
  <Slides>6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3" baseType="lpstr">
      <vt:lpstr>Arial</vt:lpstr>
      <vt:lpstr>Calibri</vt:lpstr>
      <vt:lpstr>Wingdings</vt:lpstr>
      <vt:lpstr>13_SH_PPT_Template_16x9_Confidential-copyright</vt:lpstr>
      <vt:lpstr>SH_PPT_Template_16x9_V02_Calibri_BetaVersion</vt:lpstr>
      <vt:lpstr>SH-PPT-basic_template_16x9_V2018-09_Calibri</vt:lpstr>
      <vt:lpstr>think-cell Slide</vt:lpstr>
      <vt:lpstr>Prezentace aplikace PowerPoint</vt:lpstr>
      <vt:lpstr>Veřejná zakázka</vt:lpstr>
      <vt:lpstr>Dodávka techniky</vt:lpstr>
      <vt:lpstr>Dodávka techniky a stavby</vt:lpstr>
      <vt:lpstr>Co s tím?</vt:lpstr>
      <vt:lpstr>Prezentace aplikace PowerPoint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Green</dc:title>
  <dc:creator>Maass, Moritz</dc:creator>
  <cp:keywords>C_Confidential</cp:keywords>
  <cp:lastModifiedBy>Cech, Michal</cp:lastModifiedBy>
  <cp:revision>3026</cp:revision>
  <cp:lastPrinted>2019-12-09T09:51:16Z</cp:lastPrinted>
  <dcterms:created xsi:type="dcterms:W3CDTF">2017-12-16T19:23:19Z</dcterms:created>
  <dcterms:modified xsi:type="dcterms:W3CDTF">2021-10-06T20:3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Document Confidentiality">
    <vt:lpwstr>Confidential</vt:lpwstr>
  </property>
  <property fmtid="{D5CDD505-2E9C-101B-9397-08002B2CF9AE}" pid="4" name="sodocoClasLang">
    <vt:lpwstr>Vertraulich</vt:lpwstr>
  </property>
  <property fmtid="{D5CDD505-2E9C-101B-9397-08002B2CF9AE}" pid="5" name="sodocoClasLangId">
    <vt:i4>0</vt:i4>
  </property>
  <property fmtid="{D5CDD505-2E9C-101B-9397-08002B2CF9AE}" pid="6" name="sodocoClasId">
    <vt:i4>2</vt:i4>
  </property>
  <property fmtid="{D5CDD505-2E9C-101B-9397-08002B2CF9AE}" pid="7" name="ContentTypeId">
    <vt:lpwstr>0x01010050C481E21C80304989ECF63BD0E8BEF1</vt:lpwstr>
  </property>
  <property fmtid="{D5CDD505-2E9C-101B-9397-08002B2CF9AE}" pid="8" name="MSIP_Label_ff6dbec8-95a8-4638-9f5f-bd076536645c_Enabled">
    <vt:lpwstr>true</vt:lpwstr>
  </property>
  <property fmtid="{D5CDD505-2E9C-101B-9397-08002B2CF9AE}" pid="9" name="MSIP_Label_ff6dbec8-95a8-4638-9f5f-bd076536645c_SetDate">
    <vt:lpwstr>2021-09-06T13:34:20Z</vt:lpwstr>
  </property>
  <property fmtid="{D5CDD505-2E9C-101B-9397-08002B2CF9AE}" pid="10" name="MSIP_Label_ff6dbec8-95a8-4638-9f5f-bd076536645c_Method">
    <vt:lpwstr>Standard</vt:lpwstr>
  </property>
  <property fmtid="{D5CDD505-2E9C-101B-9397-08002B2CF9AE}" pid="11" name="MSIP_Label_ff6dbec8-95a8-4638-9f5f-bd076536645c_Name">
    <vt:lpwstr>Restricted - Default</vt:lpwstr>
  </property>
  <property fmtid="{D5CDD505-2E9C-101B-9397-08002B2CF9AE}" pid="12" name="MSIP_Label_ff6dbec8-95a8-4638-9f5f-bd076536645c_SiteId">
    <vt:lpwstr>5dbf1add-202a-4b8d-815b-bf0fb024e033</vt:lpwstr>
  </property>
  <property fmtid="{D5CDD505-2E9C-101B-9397-08002B2CF9AE}" pid="13" name="MSIP_Label_ff6dbec8-95a8-4638-9f5f-bd076536645c_ActionId">
    <vt:lpwstr>49966b52-941d-40c9-b059-c1de809f6b87</vt:lpwstr>
  </property>
  <property fmtid="{D5CDD505-2E9C-101B-9397-08002B2CF9AE}" pid="14" name="MSIP_Label_ff6dbec8-95a8-4638-9f5f-bd076536645c_ContentBits">
    <vt:lpwstr>0</vt:lpwstr>
  </property>
</Properties>
</file>